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0"/>
  </p:notesMasterIdLst>
  <p:handoutMasterIdLst>
    <p:handoutMasterId r:id="rId51"/>
  </p:handoutMasterIdLst>
  <p:sldIdLst>
    <p:sldId id="1212" r:id="rId2"/>
    <p:sldId id="331" r:id="rId3"/>
    <p:sldId id="1170" r:id="rId4"/>
    <p:sldId id="1213" r:id="rId5"/>
    <p:sldId id="1214" r:id="rId6"/>
    <p:sldId id="1215" r:id="rId7"/>
    <p:sldId id="1216" r:id="rId8"/>
    <p:sldId id="1217" r:id="rId9"/>
    <p:sldId id="1218" r:id="rId10"/>
    <p:sldId id="1253" r:id="rId11"/>
    <p:sldId id="1219" r:id="rId12"/>
    <p:sldId id="1254" r:id="rId13"/>
    <p:sldId id="1262" r:id="rId14"/>
    <p:sldId id="1228" r:id="rId15"/>
    <p:sldId id="1255" r:id="rId16"/>
    <p:sldId id="1227" r:id="rId17"/>
    <p:sldId id="1224" r:id="rId18"/>
    <p:sldId id="1226" r:id="rId19"/>
    <p:sldId id="1223" r:id="rId20"/>
    <p:sldId id="1256" r:id="rId21"/>
    <p:sldId id="1231" r:id="rId22"/>
    <p:sldId id="1238" r:id="rId23"/>
    <p:sldId id="1235" r:id="rId24"/>
    <p:sldId id="1240" r:id="rId25"/>
    <p:sldId id="1257" r:id="rId26"/>
    <p:sldId id="1237" r:id="rId27"/>
    <p:sldId id="1258" r:id="rId28"/>
    <p:sldId id="1239" r:id="rId29"/>
    <p:sldId id="1241" r:id="rId30"/>
    <p:sldId id="1244" r:id="rId31"/>
    <p:sldId id="1245" r:id="rId32"/>
    <p:sldId id="1246" r:id="rId33"/>
    <p:sldId id="1247" r:id="rId34"/>
    <p:sldId id="1248" r:id="rId35"/>
    <p:sldId id="1251" r:id="rId36"/>
    <p:sldId id="1259" r:id="rId37"/>
    <p:sldId id="1249" r:id="rId38"/>
    <p:sldId id="1252" r:id="rId39"/>
    <p:sldId id="1260" r:id="rId40"/>
    <p:sldId id="1263" r:id="rId41"/>
    <p:sldId id="1243" r:id="rId42"/>
    <p:sldId id="268" r:id="rId43"/>
    <p:sldId id="1232" r:id="rId44"/>
    <p:sldId id="1233" r:id="rId45"/>
    <p:sldId id="1234" r:id="rId46"/>
    <p:sldId id="1236" r:id="rId47"/>
    <p:sldId id="1242" r:id="rId48"/>
    <p:sldId id="1261" r:id="rId49"/>
  </p:sldIdLst>
  <p:sldSz cx="12192000" cy="6858000"/>
  <p:notesSz cx="6858000" cy="9144000"/>
  <p:defaultTextStyle>
    <a:defPPr>
      <a:defRPr lang="en-US"/>
    </a:defPPr>
    <a:lvl1pPr>
      <a:spcBef>
        <a:spcPts val="0"/>
      </a:spcBef>
      <a:buClr>
        <a:schemeClr val="accent1"/>
      </a:buClr>
      <a:defRPr sz="1800"/>
    </a:lvl1pPr>
    <a:lvl2pPr marL="1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2pPr>
    <a:lvl3pPr marL="3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3pPr>
    <a:lvl4pPr marL="5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4pPr>
    <a:lvl5pPr marL="72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5pPr>
    <a:lvl6pPr marL="90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6pPr>
    <a:lvl7pPr marL="10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7pPr>
    <a:lvl8pPr marL="12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8pPr>
    <a:lvl9pPr marL="14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9pPr>
  </p:defaultTextStyle>
  <p:extLst>
    <p:ext uri="{521415D9-36F7-43E2-AB2F-B90AF26B5E84}">
      <p14:sectionLst xmlns:p14="http://schemas.microsoft.com/office/powerpoint/2010/main">
        <p14:section name="Title slides" id="{DB952CA2-F37E-4B72-9E03-5C01D6602214}">
          <p14:sldIdLst>
            <p14:sldId id="1212"/>
            <p14:sldId id="331"/>
          </p14:sldIdLst>
        </p14:section>
        <p14:section name="Intro" id="{7A536B0E-9C41-4BED-9A6E-D4A9D4DFF84A}">
          <p14:sldIdLst>
            <p14:sldId id="1170"/>
            <p14:sldId id="1213"/>
            <p14:sldId id="1214"/>
            <p14:sldId id="1215"/>
            <p14:sldId id="1216"/>
            <p14:sldId id="1217"/>
            <p14:sldId id="1218"/>
          </p14:sldIdLst>
        </p14:section>
        <p14:section name="Architecture" id="{269225A8-1852-4181-8A83-1A2A4AE9D9F5}">
          <p14:sldIdLst>
            <p14:sldId id="1253"/>
            <p14:sldId id="1219"/>
            <p14:sldId id="1254"/>
            <p14:sldId id="1262"/>
            <p14:sldId id="1228"/>
          </p14:sldIdLst>
        </p14:section>
        <p14:section name="Workers" id="{308233D9-0545-4273-B1AB-1ACC065697D5}">
          <p14:sldIdLst>
            <p14:sldId id="1255"/>
            <p14:sldId id="1227"/>
            <p14:sldId id="1224"/>
            <p14:sldId id="1226"/>
            <p14:sldId id="1223"/>
          </p14:sldIdLst>
        </p14:section>
        <p14:section name="Workflows" id="{ED18329F-AB54-4DA7-AB2E-BC3122389682}">
          <p14:sldIdLst>
            <p14:sldId id="1256"/>
            <p14:sldId id="1231"/>
            <p14:sldId id="1238"/>
            <p14:sldId id="1235"/>
            <p14:sldId id="1240"/>
            <p14:sldId id="1257"/>
            <p14:sldId id="1237"/>
          </p14:sldIdLst>
        </p14:section>
        <p14:section name="User Interface" id="{BA5D18D2-BBAC-439E-B371-A823DB82EDF5}">
          <p14:sldIdLst>
            <p14:sldId id="1258"/>
            <p14:sldId id="1239"/>
            <p14:sldId id="1241"/>
            <p14:sldId id="1244"/>
            <p14:sldId id="1245"/>
            <p14:sldId id="1246"/>
            <p14:sldId id="1247"/>
            <p14:sldId id="1248"/>
            <p14:sldId id="1251"/>
            <p14:sldId id="1259"/>
            <p14:sldId id="1249"/>
            <p14:sldId id="1252"/>
          </p14:sldIdLst>
        </p14:section>
        <p14:section name="Results" id="{B101D269-4357-40E5-8859-25ED9F08AAF7}">
          <p14:sldIdLst>
            <p14:sldId id="1260"/>
            <p14:sldId id="1263"/>
            <p14:sldId id="1243"/>
          </p14:sldIdLst>
        </p14:section>
        <p14:section name="Thanks, Contact" id="{0D568892-780D-4C8E-9447-F21546C88527}">
          <p14:sldIdLst>
            <p14:sldId id="268"/>
          </p14:sldIdLst>
        </p14:section>
        <p14:section name="Backup" id="{526F3577-8047-4623-8ED7-5C1B1A290D4C}">
          <p14:sldIdLst>
            <p14:sldId id="1232"/>
            <p14:sldId id="1233"/>
            <p14:sldId id="1234"/>
            <p14:sldId id="1236"/>
            <p14:sldId id="1242"/>
            <p14:sldId id="1261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scaleToFitPaper="1" frameSlides="1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3664E0-C945-4B00-AC06-F205727D86B6}" v="1182" dt="2023-10-06T17:19:37.924"/>
  </p1510:revLst>
</p1510:revInfo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64" autoAdjust="0"/>
    <p:restoredTop sz="97461" autoAdjust="0"/>
  </p:normalViewPr>
  <p:slideViewPr>
    <p:cSldViewPr snapToGrid="0" showGuides="1">
      <p:cViewPr varScale="1">
        <p:scale>
          <a:sx n="153" d="100"/>
          <a:sy n="153" d="100"/>
        </p:scale>
        <p:origin x="2436" y="138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2310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4938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8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handoutMaster" Target="handoutMasters/handoutMaster1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llermann, Demian (CYS DEF CERT DF)" userId="0961c1fd-f967-4660-b634-1c9ce6af0b19" providerId="ADAL" clId="{513664E0-C945-4B00-AC06-F205727D86B6}"/>
    <pc:docChg chg="undo custSel addSld delSld modSld sldOrd addSection modSection modShowInfo">
      <pc:chgData name="Kellermann, Demian (CYS DEF CERT DF)" userId="0961c1fd-f967-4660-b634-1c9ce6af0b19" providerId="ADAL" clId="{513664E0-C945-4B00-AC06-F205727D86B6}" dt="2023-10-06T17:19:37.924" v="612"/>
      <pc:docMkLst>
        <pc:docMk/>
      </pc:docMkLst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3044083358" sldId="268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1824944934" sldId="331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3955108308" sldId="1170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1053205732" sldId="1212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1343131991" sldId="1213"/>
        </pc:sldMkLst>
      </pc:sldChg>
      <pc:sldChg chg="addSp delSp modSp mod modTransition modShow">
        <pc:chgData name="Kellermann, Demian (CYS DEF CERT DF)" userId="0961c1fd-f967-4660-b634-1c9ce6af0b19" providerId="ADAL" clId="{513664E0-C945-4B00-AC06-F205727D86B6}" dt="2023-10-06T15:35:32.794" v="606" actId="729"/>
        <pc:sldMkLst>
          <pc:docMk/>
          <pc:sldMk cId="4121041434" sldId="1214"/>
        </pc:sldMkLst>
        <pc:spChg chg="mod">
          <ac:chgData name="Kellermann, Demian (CYS DEF CERT DF)" userId="0961c1fd-f967-4660-b634-1c9ce6af0b19" providerId="ADAL" clId="{513664E0-C945-4B00-AC06-F205727D86B6}" dt="2023-10-06T13:15:28.010" v="54" actId="207"/>
          <ac:spMkLst>
            <pc:docMk/>
            <pc:sldMk cId="4121041434" sldId="1214"/>
            <ac:spMk id="12" creationId="{C3EC7E9D-7288-1B09-9F47-E672AB7399BC}"/>
          </ac:spMkLst>
        </pc:spChg>
        <pc:spChg chg="mod">
          <ac:chgData name="Kellermann, Demian (CYS DEF CERT DF)" userId="0961c1fd-f967-4660-b634-1c9ce6af0b19" providerId="ADAL" clId="{513664E0-C945-4B00-AC06-F205727D86B6}" dt="2023-10-06T13:15:23.360" v="53" actId="207"/>
          <ac:spMkLst>
            <pc:docMk/>
            <pc:sldMk cId="4121041434" sldId="1214"/>
            <ac:spMk id="17" creationId="{67D5D3CD-9F55-082D-24C6-B4407C5A493A}"/>
          </ac:spMkLst>
        </pc:spChg>
        <pc:spChg chg="mod">
          <ac:chgData name="Kellermann, Demian (CYS DEF CERT DF)" userId="0961c1fd-f967-4660-b634-1c9ce6af0b19" providerId="ADAL" clId="{513664E0-C945-4B00-AC06-F205727D86B6}" dt="2023-10-06T13:15:30.450" v="55" actId="207"/>
          <ac:spMkLst>
            <pc:docMk/>
            <pc:sldMk cId="4121041434" sldId="1214"/>
            <ac:spMk id="22" creationId="{2F090835-6CFE-4157-BD65-CAC779759B2B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28" creationId="{43F48BDB-84B9-183F-6499-04372BA572C0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29" creationId="{FF68045E-F39A-98AE-782B-10D0F245EF05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30" creationId="{D0ABF74D-8152-077F-0109-98278D4E3F8B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31" creationId="{E82D684B-6622-5EB2-4864-698D363FB615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32" creationId="{5C152A55-0004-9198-E4B7-3DA6C4BD2A77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34" creationId="{0131E30F-BB23-4D74-9ADC-53D1EA2D7C28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35" creationId="{9A4F6E3C-ED79-2B64-F708-99C155B1AD42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36" creationId="{B4E475E1-04BA-D99A-40BA-D0A524AFFDAA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37" creationId="{4C716908-D031-4317-8452-9D1EA153FDAF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38" creationId="{D49B8714-635A-F156-7F7B-5111ADEFACA8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39" creationId="{0AD66749-9DB9-FDA1-1036-7F423F7A7C30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40" creationId="{01039E61-9C46-23AA-720E-73DEBB9DA890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41" creationId="{BDBE9E64-08D4-6F0F-3B64-779C12404D19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42" creationId="{6D96F942-6166-F441-7F28-06CBB013B4F9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43" creationId="{042CFD5B-FB08-8D43-B1C1-70036CE5E2D7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44" creationId="{279F6BAA-BFDE-B1D6-2279-C14CAFBCE949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45" creationId="{FABAEA24-F388-EE4B-5D47-09DC8481BE40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46" creationId="{5682DDA2-DFA7-9CBA-FC54-144F01707163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47" creationId="{043540C1-E484-5DE0-1A44-92B4FFE8A798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48" creationId="{C8FCCA20-09A5-3DD7-1389-E5436498ABCC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49" creationId="{5FCB5E81-056A-1DBC-DD4B-1869B400BD03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51" creationId="{5863C485-E355-87C3-C313-B8141A285050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52" creationId="{FC02BDC5-9626-86C0-CEF6-4ED4ECAC1755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53" creationId="{544CA6C8-8407-CC4E-FC02-68FD1D818AB7}"/>
          </ac:spMkLst>
        </pc:spChg>
        <pc:spChg chg="del">
          <ac:chgData name="Kellermann, Demian (CYS DEF CERT DF)" userId="0961c1fd-f967-4660-b634-1c9ce6af0b19" providerId="ADAL" clId="{513664E0-C945-4B00-AC06-F205727D86B6}" dt="2023-10-06T13:14:31.415" v="19" actId="478"/>
          <ac:spMkLst>
            <pc:docMk/>
            <pc:sldMk cId="4121041434" sldId="1214"/>
            <ac:spMk id="55" creationId="{0014BAB4-DF65-2768-6C65-490B5FF1D1DE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93" creationId="{C3EFBDE4-AC92-01D6-EEDC-14AD0285A15E}"/>
          </ac:spMkLst>
        </pc:spChg>
        <pc:spChg chg="mod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94" creationId="{8E9F9D29-3CD1-C081-BE1B-ABBA88750081}"/>
          </ac:spMkLst>
        </pc:spChg>
        <pc:spChg chg="mod topLvl">
          <ac:chgData name="Kellermann, Demian (CYS DEF CERT DF)" userId="0961c1fd-f967-4660-b634-1c9ce6af0b19" providerId="ADAL" clId="{513664E0-C945-4B00-AC06-F205727D86B6}" dt="2023-10-06T13:16:09.182" v="73" actId="1036"/>
          <ac:spMkLst>
            <pc:docMk/>
            <pc:sldMk cId="4121041434" sldId="1214"/>
            <ac:spMk id="95" creationId="{8BDD1DDD-572E-47B5-21E4-419DE61D075A}"/>
          </ac:spMkLst>
        </pc:spChg>
        <pc:grpChg chg="add mod">
          <ac:chgData name="Kellermann, Demian (CYS DEF CERT DF)" userId="0961c1fd-f967-4660-b634-1c9ce6af0b19" providerId="ADAL" clId="{513664E0-C945-4B00-AC06-F205727D86B6}" dt="2023-10-06T13:16:09.182" v="73" actId="1036"/>
          <ac:grpSpMkLst>
            <pc:docMk/>
            <pc:sldMk cId="4121041434" sldId="1214"/>
            <ac:grpSpMk id="3" creationId="{B3CDC626-215C-2753-DDC9-4AF03A97958E}"/>
          </ac:grpSpMkLst>
        </pc:grpChg>
        <pc:grpChg chg="mod topLvl">
          <ac:chgData name="Kellermann, Demian (CYS DEF CERT DF)" userId="0961c1fd-f967-4660-b634-1c9ce6af0b19" providerId="ADAL" clId="{513664E0-C945-4B00-AC06-F205727D86B6}" dt="2023-10-06T13:16:09.182" v="73" actId="1036"/>
          <ac:grpSpMkLst>
            <pc:docMk/>
            <pc:sldMk cId="4121041434" sldId="1214"/>
            <ac:grpSpMk id="23" creationId="{BA04B308-2EB3-1D2D-97DF-2F909DC3D465}"/>
          </ac:grpSpMkLst>
        </pc:grpChg>
        <pc:grpChg chg="mod topLvl">
          <ac:chgData name="Kellermann, Demian (CYS DEF CERT DF)" userId="0961c1fd-f967-4660-b634-1c9ce6af0b19" providerId="ADAL" clId="{513664E0-C945-4B00-AC06-F205727D86B6}" dt="2023-10-06T13:16:09.182" v="73" actId="1036"/>
          <ac:grpSpMkLst>
            <pc:docMk/>
            <pc:sldMk cId="4121041434" sldId="1214"/>
            <ac:grpSpMk id="24" creationId="{2613E234-692F-2CB9-8B8D-A397139D2375}"/>
          </ac:grpSpMkLst>
        </pc:grpChg>
        <pc:grpChg chg="mod topLvl">
          <ac:chgData name="Kellermann, Demian (CYS DEF CERT DF)" userId="0961c1fd-f967-4660-b634-1c9ce6af0b19" providerId="ADAL" clId="{513664E0-C945-4B00-AC06-F205727D86B6}" dt="2023-10-06T13:16:09.182" v="73" actId="1036"/>
          <ac:grpSpMkLst>
            <pc:docMk/>
            <pc:sldMk cId="4121041434" sldId="1214"/>
            <ac:grpSpMk id="25" creationId="{8A44532F-6434-5176-C2F2-52FB3D8EB280}"/>
          </ac:grpSpMkLst>
        </pc:grpChg>
        <pc:grpChg chg="mod topLvl">
          <ac:chgData name="Kellermann, Demian (CYS DEF CERT DF)" userId="0961c1fd-f967-4660-b634-1c9ce6af0b19" providerId="ADAL" clId="{513664E0-C945-4B00-AC06-F205727D86B6}" dt="2023-10-06T13:16:09.182" v="73" actId="1036"/>
          <ac:grpSpMkLst>
            <pc:docMk/>
            <pc:sldMk cId="4121041434" sldId="1214"/>
            <ac:grpSpMk id="26" creationId="{F56D63A0-100E-84C2-B05E-172FAC66DCCE}"/>
          </ac:grpSpMkLst>
        </pc:grpChg>
        <pc:grpChg chg="mod topLvl">
          <ac:chgData name="Kellermann, Demian (CYS DEF CERT DF)" userId="0961c1fd-f967-4660-b634-1c9ce6af0b19" providerId="ADAL" clId="{513664E0-C945-4B00-AC06-F205727D86B6}" dt="2023-10-06T13:16:09.182" v="73" actId="1036"/>
          <ac:grpSpMkLst>
            <pc:docMk/>
            <pc:sldMk cId="4121041434" sldId="1214"/>
            <ac:grpSpMk id="27" creationId="{14709721-951C-0AD6-DA97-A61B367E1109}"/>
          </ac:grpSpMkLst>
        </pc:grpChg>
        <pc:grpChg chg="mod">
          <ac:chgData name="Kellermann, Demian (CYS DEF CERT DF)" userId="0961c1fd-f967-4660-b634-1c9ce6af0b19" providerId="ADAL" clId="{513664E0-C945-4B00-AC06-F205727D86B6}" dt="2023-10-06T13:16:09.182" v="73" actId="1036"/>
          <ac:grpSpMkLst>
            <pc:docMk/>
            <pc:sldMk cId="4121041434" sldId="1214"/>
            <ac:grpSpMk id="33" creationId="{6DBFDB0B-AB15-6D06-1004-6BDB0D6BE257}"/>
          </ac:grpSpMkLst>
        </pc:grpChg>
        <pc:grpChg chg="mod">
          <ac:chgData name="Kellermann, Demian (CYS DEF CERT DF)" userId="0961c1fd-f967-4660-b634-1c9ce6af0b19" providerId="ADAL" clId="{513664E0-C945-4B00-AC06-F205727D86B6}" dt="2023-10-06T13:16:09.182" v="73" actId="1036"/>
          <ac:grpSpMkLst>
            <pc:docMk/>
            <pc:sldMk cId="4121041434" sldId="1214"/>
            <ac:grpSpMk id="50" creationId="{0170E611-CD16-9194-648A-F77A77BAE388}"/>
          </ac:grpSpMkLst>
        </pc:grpChg>
        <pc:grpChg chg="mod topLvl">
          <ac:chgData name="Kellermann, Demian (CYS DEF CERT DF)" userId="0961c1fd-f967-4660-b634-1c9ce6af0b19" providerId="ADAL" clId="{513664E0-C945-4B00-AC06-F205727D86B6}" dt="2023-10-06T13:16:09.182" v="73" actId="1036"/>
          <ac:grpSpMkLst>
            <pc:docMk/>
            <pc:sldMk cId="4121041434" sldId="1214"/>
            <ac:grpSpMk id="92" creationId="{598B42F7-D15C-7A44-DC3C-AA9496B80F12}"/>
          </ac:grpSpMkLst>
        </pc:grpChg>
        <pc:grpChg chg="del">
          <ac:chgData name="Kellermann, Demian (CYS DEF CERT DF)" userId="0961c1fd-f967-4660-b634-1c9ce6af0b19" providerId="ADAL" clId="{513664E0-C945-4B00-AC06-F205727D86B6}" dt="2023-10-06T13:14:31.415" v="19" actId="478"/>
          <ac:grpSpMkLst>
            <pc:docMk/>
            <pc:sldMk cId="4121041434" sldId="1214"/>
            <ac:grpSpMk id="96" creationId="{1DD8FAF3-D1D0-10DC-223E-C404A44FAF21}"/>
          </ac:grpSpMkLst>
        </pc:grpChg>
        <pc:grpChg chg="del mod">
          <ac:chgData name="Kellermann, Demian (CYS DEF CERT DF)" userId="0961c1fd-f967-4660-b634-1c9ce6af0b19" providerId="ADAL" clId="{513664E0-C945-4B00-AC06-F205727D86B6}" dt="2023-10-06T13:15:38.340" v="56" actId="165"/>
          <ac:grpSpMkLst>
            <pc:docMk/>
            <pc:sldMk cId="4121041434" sldId="1214"/>
            <ac:grpSpMk id="106" creationId="{C6307792-76EB-9823-97E5-9219F3C08508}"/>
          </ac:grpSpMkLst>
        </pc:grpChg>
        <pc:picChg chg="mod topLvl">
          <ac:chgData name="Kellermann, Demian (CYS DEF CERT DF)" userId="0961c1fd-f967-4660-b634-1c9ce6af0b19" providerId="ADAL" clId="{513664E0-C945-4B00-AC06-F205727D86B6}" dt="2023-10-06T13:16:09.182" v="73" actId="1036"/>
          <ac:picMkLst>
            <pc:docMk/>
            <pc:sldMk cId="4121041434" sldId="1214"/>
            <ac:picMk id="98" creationId="{D774A3DD-968D-F0AD-3F04-7301207FECD3}"/>
          </ac:picMkLst>
        </pc:picChg>
      </pc:sldChg>
      <pc:sldChg chg="modSp mod 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1479783248" sldId="1215"/>
        </pc:sldMkLst>
        <pc:spChg chg="mod">
          <ac:chgData name="Kellermann, Demian (CYS DEF CERT DF)" userId="0961c1fd-f967-4660-b634-1c9ce6af0b19" providerId="ADAL" clId="{513664E0-C945-4B00-AC06-F205727D86B6}" dt="2023-10-06T15:35:54.184" v="608" actId="12"/>
          <ac:spMkLst>
            <pc:docMk/>
            <pc:sldMk cId="1479783248" sldId="1215"/>
            <ac:spMk id="7" creationId="{70D270D6-DC4B-AE64-0F4B-81C148DA6628}"/>
          </ac:spMkLst>
        </pc:spChg>
        <pc:spChg chg="mod">
          <ac:chgData name="Kellermann, Demian (CYS DEF CERT DF)" userId="0961c1fd-f967-4660-b634-1c9ce6af0b19" providerId="ADAL" clId="{513664E0-C945-4B00-AC06-F205727D86B6}" dt="2023-10-06T15:35:52.189" v="607" actId="12"/>
          <ac:spMkLst>
            <pc:docMk/>
            <pc:sldMk cId="1479783248" sldId="1215"/>
            <ac:spMk id="119" creationId="{72EA828D-802D-35B5-CB92-66F7365B634B}"/>
          </ac:spMkLst>
        </pc:spChg>
      </pc:sldChg>
      <pc:sldChg chg="modSp mod 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1165617209" sldId="1216"/>
        </pc:sldMkLst>
        <pc:spChg chg="mod">
          <ac:chgData name="Kellermann, Demian (CYS DEF CERT DF)" userId="0961c1fd-f967-4660-b634-1c9ce6af0b19" providerId="ADAL" clId="{513664E0-C945-4B00-AC06-F205727D86B6}" dt="2023-10-06T15:36:00.859" v="609" actId="12"/>
          <ac:spMkLst>
            <pc:docMk/>
            <pc:sldMk cId="1165617209" sldId="1216"/>
            <ac:spMk id="119" creationId="{72EA828D-802D-35B5-CB92-66F7365B634B}"/>
          </ac:spMkLst>
        </pc:spChg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3572131023" sldId="1217"/>
        </pc:sldMkLst>
      </pc:sldChg>
      <pc:sldChg chg="modSp mod 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2033643887" sldId="1218"/>
        </pc:sldMkLst>
        <pc:spChg chg="mod">
          <ac:chgData name="Kellermann, Demian (CYS DEF CERT DF)" userId="0961c1fd-f967-4660-b634-1c9ce6af0b19" providerId="ADAL" clId="{513664E0-C945-4B00-AC06-F205727D86B6}" dt="2023-10-06T13:16:42.482" v="74" actId="6549"/>
          <ac:spMkLst>
            <pc:docMk/>
            <pc:sldMk cId="2033643887" sldId="1218"/>
            <ac:spMk id="5" creationId="{AA7D96F8-E591-5CF6-13CF-07EA51410B0B}"/>
          </ac:spMkLst>
        </pc:spChg>
      </pc:sldChg>
      <pc:sldChg chg="ord 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1637533955" sldId="1219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1656023397" sldId="1223"/>
        </pc:sldMkLst>
      </pc:sldChg>
      <pc:sldChg chg="addSp delSp modSp 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3622853737" sldId="1224"/>
        </pc:sldMkLst>
        <pc:picChg chg="add mod">
          <ac:chgData name="Kellermann, Demian (CYS DEF CERT DF)" userId="0961c1fd-f967-4660-b634-1c9ce6af0b19" providerId="ADAL" clId="{513664E0-C945-4B00-AC06-F205727D86B6}" dt="2023-10-06T13:17:19.172" v="78"/>
          <ac:picMkLst>
            <pc:docMk/>
            <pc:sldMk cId="3622853737" sldId="1224"/>
            <ac:picMk id="12" creationId="{A38B9FCC-0608-B513-76D4-A80CC15CA268}"/>
          </ac:picMkLst>
        </pc:picChg>
        <pc:picChg chg="del">
          <ac:chgData name="Kellermann, Demian (CYS DEF CERT DF)" userId="0961c1fd-f967-4660-b634-1c9ce6af0b19" providerId="ADAL" clId="{513664E0-C945-4B00-AC06-F205727D86B6}" dt="2023-10-06T13:17:18.467" v="77" actId="478"/>
          <ac:picMkLst>
            <pc:docMk/>
            <pc:sldMk cId="3622853737" sldId="1224"/>
            <ac:picMk id="1026" creationId="{D754EB09-5D57-9149-4AAD-1CDEF4E347D0}"/>
          </ac:picMkLst>
        </pc:picChg>
      </pc:sldChg>
      <pc:sldChg chg="addSp delSp modSp del modTransition">
        <pc:chgData name="Kellermann, Demian (CYS DEF CERT DF)" userId="0961c1fd-f967-4660-b634-1c9ce6af0b19" providerId="ADAL" clId="{513664E0-C945-4B00-AC06-F205727D86B6}" dt="2023-10-06T13:17:54.437" v="81" actId="47"/>
        <pc:sldMkLst>
          <pc:docMk/>
          <pc:sldMk cId="3816082453" sldId="1225"/>
        </pc:sldMkLst>
        <pc:picChg chg="add mod">
          <ac:chgData name="Kellermann, Demian (CYS DEF CERT DF)" userId="0961c1fd-f967-4660-b634-1c9ce6af0b19" providerId="ADAL" clId="{513664E0-C945-4B00-AC06-F205727D86B6}" dt="2023-10-06T13:17:16.397" v="76"/>
          <ac:picMkLst>
            <pc:docMk/>
            <pc:sldMk cId="3816082453" sldId="1225"/>
            <ac:picMk id="3" creationId="{5E9DB650-BDD9-6772-04FD-E599A0D2FC7E}"/>
          </ac:picMkLst>
        </pc:picChg>
        <pc:picChg chg="del">
          <ac:chgData name="Kellermann, Demian (CYS DEF CERT DF)" userId="0961c1fd-f967-4660-b634-1c9ce6af0b19" providerId="ADAL" clId="{513664E0-C945-4B00-AC06-F205727D86B6}" dt="2023-10-06T13:17:15.662" v="75" actId="478"/>
          <ac:picMkLst>
            <pc:docMk/>
            <pc:sldMk cId="3816082453" sldId="1225"/>
            <ac:picMk id="1026" creationId="{D754EB09-5D57-9149-4AAD-1CDEF4E347D0}"/>
          </ac:picMkLst>
        </pc:picChg>
      </pc:sldChg>
      <pc:sldChg chg="modSp mod 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4060943251" sldId="1226"/>
        </pc:sldMkLst>
        <pc:spChg chg="mod">
          <ac:chgData name="Kellermann, Demian (CYS DEF CERT DF)" userId="0961c1fd-f967-4660-b634-1c9ce6af0b19" providerId="ADAL" clId="{513664E0-C945-4B00-AC06-F205727D86B6}" dt="2023-10-06T13:18:21.467" v="82" actId="20577"/>
          <ac:spMkLst>
            <pc:docMk/>
            <pc:sldMk cId="4060943251" sldId="1226"/>
            <ac:spMk id="15" creationId="{9945CF7E-06DE-F7CB-F0DD-112D557A2990}"/>
          </ac:spMkLst>
        </pc:spChg>
      </pc:sldChg>
      <pc:sldChg chg="addSp delSp modSp 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1816225658" sldId="1227"/>
        </pc:sldMkLst>
        <pc:picChg chg="add mod">
          <ac:chgData name="Kellermann, Demian (CYS DEF CERT DF)" userId="0961c1fd-f967-4660-b634-1c9ce6af0b19" providerId="ADAL" clId="{513664E0-C945-4B00-AC06-F205727D86B6}" dt="2023-10-06T13:17:22.262" v="80"/>
          <ac:picMkLst>
            <pc:docMk/>
            <pc:sldMk cId="1816225658" sldId="1227"/>
            <ac:picMk id="3" creationId="{51242343-6B65-9772-FDA9-30BA9603AC93}"/>
          </ac:picMkLst>
        </pc:picChg>
        <pc:picChg chg="del">
          <ac:chgData name="Kellermann, Demian (CYS DEF CERT DF)" userId="0961c1fd-f967-4660-b634-1c9ce6af0b19" providerId="ADAL" clId="{513664E0-C945-4B00-AC06-F205727D86B6}" dt="2023-10-06T13:17:21.632" v="79" actId="478"/>
          <ac:picMkLst>
            <pc:docMk/>
            <pc:sldMk cId="1816225658" sldId="1227"/>
            <ac:picMk id="1026" creationId="{D754EB09-5D57-9149-4AAD-1CDEF4E347D0}"/>
          </ac:picMkLst>
        </pc:picChg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2694688625" sldId="1228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3989008110" sldId="1231"/>
        </pc:sldMkLst>
      </pc:sldChg>
      <pc:sldChg chg="mod ord modTransition modShow">
        <pc:chgData name="Kellermann, Demian (CYS DEF CERT DF)" userId="0961c1fd-f967-4660-b634-1c9ce6af0b19" providerId="ADAL" clId="{513664E0-C945-4B00-AC06-F205727D86B6}" dt="2023-10-06T15:31:42.903" v="597"/>
        <pc:sldMkLst>
          <pc:docMk/>
          <pc:sldMk cId="1176670900" sldId="1232"/>
        </pc:sldMkLst>
      </pc:sldChg>
      <pc:sldChg chg="mod ord modTransition modShow">
        <pc:chgData name="Kellermann, Demian (CYS DEF CERT DF)" userId="0961c1fd-f967-4660-b634-1c9ce6af0b19" providerId="ADAL" clId="{513664E0-C945-4B00-AC06-F205727D86B6}" dt="2023-10-06T15:31:42.903" v="597"/>
        <pc:sldMkLst>
          <pc:docMk/>
          <pc:sldMk cId="812063994" sldId="1233"/>
        </pc:sldMkLst>
      </pc:sldChg>
      <pc:sldChg chg="mod ord modTransition modShow">
        <pc:chgData name="Kellermann, Demian (CYS DEF CERT DF)" userId="0961c1fd-f967-4660-b634-1c9ce6af0b19" providerId="ADAL" clId="{513664E0-C945-4B00-AC06-F205727D86B6}" dt="2023-10-06T15:31:42.903" v="597"/>
        <pc:sldMkLst>
          <pc:docMk/>
          <pc:sldMk cId="2264235835" sldId="1234"/>
        </pc:sldMkLst>
      </pc:sldChg>
      <pc:sldChg chg="addSp delSp modSp mod modTransition modAnim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3020955865" sldId="1235"/>
        </pc:sldMkLst>
        <pc:spChg chg="mod">
          <ac:chgData name="Kellermann, Demian (CYS DEF CERT DF)" userId="0961c1fd-f967-4660-b634-1c9ce6af0b19" providerId="ADAL" clId="{513664E0-C945-4B00-AC06-F205727D86B6}" dt="2023-10-06T14:30:22.291" v="594" actId="207"/>
          <ac:spMkLst>
            <pc:docMk/>
            <pc:sldMk cId="3020955865" sldId="1235"/>
            <ac:spMk id="3" creationId="{F1DF646E-7E60-DF9F-9360-53F07A03C8BF}"/>
          </ac:spMkLst>
        </pc:spChg>
        <pc:spChg chg="add mod ord">
          <ac:chgData name="Kellermann, Demian (CYS DEF CERT DF)" userId="0961c1fd-f967-4660-b634-1c9ce6af0b19" providerId="ADAL" clId="{513664E0-C945-4B00-AC06-F205727D86B6}" dt="2023-10-06T13:21:09.256" v="90" actId="167"/>
          <ac:spMkLst>
            <pc:docMk/>
            <pc:sldMk cId="3020955865" sldId="1235"/>
            <ac:spMk id="5" creationId="{1D2FF34D-6B03-DFFE-99F1-952C61AF240C}"/>
          </ac:spMkLst>
        </pc:spChg>
        <pc:spChg chg="del">
          <ac:chgData name="Kellermann, Demian (CYS DEF CERT DF)" userId="0961c1fd-f967-4660-b634-1c9ce6af0b19" providerId="ADAL" clId="{513664E0-C945-4B00-AC06-F205727D86B6}" dt="2023-10-06T13:21:13.756" v="92" actId="478"/>
          <ac:spMkLst>
            <pc:docMk/>
            <pc:sldMk cId="3020955865" sldId="1235"/>
            <ac:spMk id="10" creationId="{C7E18851-BCC8-3222-B600-1674E8D25DB3}"/>
          </ac:spMkLst>
        </pc:spChg>
        <pc:spChg chg="del mod">
          <ac:chgData name="Kellermann, Demian (CYS DEF CERT DF)" userId="0961c1fd-f967-4660-b634-1c9ce6af0b19" providerId="ADAL" clId="{513664E0-C945-4B00-AC06-F205727D86B6}" dt="2023-10-06T14:39:18.607" v="595" actId="478"/>
          <ac:spMkLst>
            <pc:docMk/>
            <pc:sldMk cId="3020955865" sldId="1235"/>
            <ac:spMk id="18" creationId="{9FB9467F-525B-59E6-F947-9ED3BCA4616D}"/>
          </ac:spMkLst>
        </pc:spChg>
        <pc:spChg chg="mod">
          <ac:chgData name="Kellermann, Demian (CYS DEF CERT DF)" userId="0961c1fd-f967-4660-b634-1c9ce6af0b19" providerId="ADAL" clId="{513664E0-C945-4B00-AC06-F205727D86B6}" dt="2023-10-06T13:21:12.091" v="91" actId="1076"/>
          <ac:spMkLst>
            <pc:docMk/>
            <pc:sldMk cId="3020955865" sldId="1235"/>
            <ac:spMk id="19" creationId="{D3F7E466-BE88-B9F2-CFBA-3EBB7210573E}"/>
          </ac:spMkLst>
        </pc:spChg>
      </pc:sldChg>
      <pc:sldChg chg="mod ord modTransition modShow">
        <pc:chgData name="Kellermann, Demian (CYS DEF CERT DF)" userId="0961c1fd-f967-4660-b634-1c9ce6af0b19" providerId="ADAL" clId="{513664E0-C945-4B00-AC06-F205727D86B6}" dt="2023-10-06T15:31:42.903" v="597"/>
        <pc:sldMkLst>
          <pc:docMk/>
          <pc:sldMk cId="1018627471" sldId="1236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2679225841" sldId="1237"/>
        </pc:sldMkLst>
      </pc:sldChg>
      <pc:sldChg chg="modTransition modAnim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1840912567" sldId="1238"/>
        </pc:sldMkLst>
      </pc:sldChg>
      <pc:sldChg chg="mod modTransition modShow">
        <pc:chgData name="Kellermann, Demian (CYS DEF CERT DF)" userId="0961c1fd-f967-4660-b634-1c9ce6af0b19" providerId="ADAL" clId="{513664E0-C945-4B00-AC06-F205727D86B6}" dt="2023-10-06T15:31:42.903" v="597"/>
        <pc:sldMkLst>
          <pc:docMk/>
          <pc:sldMk cId="2111052806" sldId="1239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3464376573" sldId="1240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3772723279" sldId="1241"/>
        </pc:sldMkLst>
      </pc:sldChg>
      <pc:sldChg chg="mod ord modTransition modShow">
        <pc:chgData name="Kellermann, Demian (CYS DEF CERT DF)" userId="0961c1fd-f967-4660-b634-1c9ce6af0b19" providerId="ADAL" clId="{513664E0-C945-4B00-AC06-F205727D86B6}" dt="2023-10-06T15:31:42.903" v="597"/>
        <pc:sldMkLst>
          <pc:docMk/>
          <pc:sldMk cId="555466766" sldId="1242"/>
        </pc:sldMkLst>
      </pc:sldChg>
      <pc:sldChg chg="delSp modSp mod ord 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2220181476" sldId="1243"/>
        </pc:sldMkLst>
        <pc:spChg chg="mod">
          <ac:chgData name="Kellermann, Demian (CYS DEF CERT DF)" userId="0961c1fd-f967-4660-b634-1c9ce6af0b19" providerId="ADAL" clId="{513664E0-C945-4B00-AC06-F205727D86B6}" dt="2023-10-06T15:34:20.313" v="604" actId="1076"/>
          <ac:spMkLst>
            <pc:docMk/>
            <pc:sldMk cId="2220181476" sldId="1243"/>
            <ac:spMk id="9" creationId="{1FA72983-FAC2-E13A-308E-8CAE167FE325}"/>
          </ac:spMkLst>
        </pc:spChg>
        <pc:spChg chg="mod">
          <ac:chgData name="Kellermann, Demian (CYS DEF CERT DF)" userId="0961c1fd-f967-4660-b634-1c9ce6af0b19" providerId="ADAL" clId="{513664E0-C945-4B00-AC06-F205727D86B6}" dt="2023-10-06T15:34:28.653" v="605" actId="1076"/>
          <ac:spMkLst>
            <pc:docMk/>
            <pc:sldMk cId="2220181476" sldId="1243"/>
            <ac:spMk id="10" creationId="{1AA449AA-7A26-34A0-271D-B87B72497C55}"/>
          </ac:spMkLst>
        </pc:spChg>
        <pc:spChg chg="del">
          <ac:chgData name="Kellermann, Demian (CYS DEF CERT DF)" userId="0961c1fd-f967-4660-b634-1c9ce6af0b19" providerId="ADAL" clId="{513664E0-C945-4B00-AC06-F205727D86B6}" dt="2023-10-06T15:34:04.383" v="602" actId="478"/>
          <ac:spMkLst>
            <pc:docMk/>
            <pc:sldMk cId="2220181476" sldId="1243"/>
            <ac:spMk id="11" creationId="{38EDB326-E63D-7C7C-C387-68ECCF5E6EAD}"/>
          </ac:spMkLst>
        </pc:spChg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1328553763" sldId="1244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144119149" sldId="1245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2851237499" sldId="1246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2785356420" sldId="1247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438564692" sldId="1248"/>
        </pc:sldMkLst>
      </pc:sldChg>
      <pc:sldChg chg="ord 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4233210675" sldId="1249"/>
        </pc:sldMkLst>
      </pc:sldChg>
      <pc:sldChg chg="del modTransition">
        <pc:chgData name="Kellermann, Demian (CYS DEF CERT DF)" userId="0961c1fd-f967-4660-b634-1c9ce6af0b19" providerId="ADAL" clId="{513664E0-C945-4B00-AC06-F205727D86B6}" dt="2023-10-06T13:28:47.786" v="102" actId="47"/>
        <pc:sldMkLst>
          <pc:docMk/>
          <pc:sldMk cId="1663704080" sldId="1250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2017008546" sldId="1251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2450651026" sldId="1252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4031406732" sldId="1253"/>
        </pc:sldMkLst>
      </pc:sldChg>
      <pc:sldChg chg="ord 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1288150932" sldId="1254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2565059267" sldId="1255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2824019085" sldId="1256"/>
        </pc:sldMkLst>
      </pc:sldChg>
      <pc:sldChg chg="addSp modSp mod 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438874984" sldId="1257"/>
        </pc:sldMkLst>
        <pc:spChg chg="add mod">
          <ac:chgData name="Kellermann, Demian (CYS DEF CERT DF)" userId="0961c1fd-f967-4660-b634-1c9ce6af0b19" providerId="ADAL" clId="{513664E0-C945-4B00-AC06-F205727D86B6}" dt="2023-10-06T13:22:41.551" v="99" actId="1076"/>
          <ac:spMkLst>
            <pc:docMk/>
            <pc:sldMk cId="438874984" sldId="1257"/>
            <ac:spMk id="5" creationId="{7E79E003-0E0B-D4A7-1A32-DD79693878A8}"/>
          </ac:spMkLst>
        </pc:spChg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1313728606" sldId="1258"/>
        </pc:sldMkLst>
      </pc:sldChg>
      <pc:sldChg chg="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2343337875" sldId="1259"/>
        </pc:sldMkLst>
      </pc:sldChg>
      <pc:sldChg chg="addSp delSp modSp mod 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2176283459" sldId="1260"/>
        </pc:sldMkLst>
        <pc:spChg chg="mod">
          <ac:chgData name="Kellermann, Demian (CYS DEF CERT DF)" userId="0961c1fd-f967-4660-b634-1c9ce6af0b19" providerId="ADAL" clId="{513664E0-C945-4B00-AC06-F205727D86B6}" dt="2023-10-06T14:17:17.355" v="580" actId="6549"/>
          <ac:spMkLst>
            <pc:docMk/>
            <pc:sldMk cId="2176283459" sldId="1260"/>
            <ac:spMk id="5" creationId="{F640B5D6-DA30-4A72-90BF-4686C1ACCA99}"/>
          </ac:spMkLst>
        </pc:spChg>
        <pc:spChg chg="add del">
          <ac:chgData name="Kellermann, Demian (CYS DEF CERT DF)" userId="0961c1fd-f967-4660-b634-1c9ce6af0b19" providerId="ADAL" clId="{513664E0-C945-4B00-AC06-F205727D86B6}" dt="2023-10-06T14:07:32.336" v="107" actId="22"/>
          <ac:spMkLst>
            <pc:docMk/>
            <pc:sldMk cId="2176283459" sldId="1260"/>
            <ac:spMk id="7" creationId="{D70A64D0-1BC4-E52B-B076-2DC2523C903A}"/>
          </ac:spMkLst>
        </pc:spChg>
      </pc:sldChg>
      <pc:sldChg chg="mod ord modTransition modShow">
        <pc:chgData name="Kellermann, Demian (CYS DEF CERT DF)" userId="0961c1fd-f967-4660-b634-1c9ce6af0b19" providerId="ADAL" clId="{513664E0-C945-4B00-AC06-F205727D86B6}" dt="2023-10-06T15:31:42.903" v="597"/>
        <pc:sldMkLst>
          <pc:docMk/>
          <pc:sldMk cId="3755858312" sldId="1261"/>
        </pc:sldMkLst>
      </pc:sldChg>
      <pc:sldChg chg="delSp modSp mod modTransition delAnim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3092413507" sldId="1262"/>
        </pc:sldMkLst>
        <pc:spChg chg="mod">
          <ac:chgData name="Kellermann, Demian (CYS DEF CERT DF)" userId="0961c1fd-f967-4660-b634-1c9ce6af0b19" providerId="ADAL" clId="{513664E0-C945-4B00-AC06-F205727D86B6}" dt="2023-10-06T13:13:38.225" v="18" actId="14100"/>
          <ac:spMkLst>
            <pc:docMk/>
            <pc:sldMk cId="3092413507" sldId="1262"/>
            <ac:spMk id="3" creationId="{8A9C2B79-DDBD-077A-9EF4-22C9800B4DF6}"/>
          </ac:spMkLst>
        </pc:spChg>
        <pc:spChg chg="del">
          <ac:chgData name="Kellermann, Demian (CYS DEF CERT DF)" userId="0961c1fd-f967-4660-b634-1c9ce6af0b19" providerId="ADAL" clId="{513664E0-C945-4B00-AC06-F205727D86B6}" dt="2023-10-06T13:13:05.406" v="10" actId="478"/>
          <ac:spMkLst>
            <pc:docMk/>
            <pc:sldMk cId="3092413507" sldId="1262"/>
            <ac:spMk id="4112" creationId="{0B8EEAF0-A39D-B831-7456-A875102BCE53}"/>
          </ac:spMkLst>
        </pc:spChg>
        <pc:spChg chg="mod">
          <ac:chgData name="Kellermann, Demian (CYS DEF CERT DF)" userId="0961c1fd-f967-4660-b634-1c9ce6af0b19" providerId="ADAL" clId="{513664E0-C945-4B00-AC06-F205727D86B6}" dt="2023-10-06T13:13:19.355" v="15" actId="1038"/>
          <ac:spMkLst>
            <pc:docMk/>
            <pc:sldMk cId="3092413507" sldId="1262"/>
            <ac:spMk id="4113" creationId="{3311CDEF-460A-087A-544C-0AB99C257D55}"/>
          </ac:spMkLst>
        </pc:spChg>
        <pc:spChg chg="del">
          <ac:chgData name="Kellermann, Demian (CYS DEF CERT DF)" userId="0961c1fd-f967-4660-b634-1c9ce6af0b19" providerId="ADAL" clId="{513664E0-C945-4B00-AC06-F205727D86B6}" dt="2023-10-06T13:12:39.022" v="8" actId="478"/>
          <ac:spMkLst>
            <pc:docMk/>
            <pc:sldMk cId="3092413507" sldId="1262"/>
            <ac:spMk id="4118" creationId="{C17DBB16-31CF-8AEA-7003-5EB64B6DA74E}"/>
          </ac:spMkLst>
        </pc:spChg>
        <pc:spChg chg="del">
          <ac:chgData name="Kellermann, Demian (CYS DEF CERT DF)" userId="0961c1fd-f967-4660-b634-1c9ce6af0b19" providerId="ADAL" clId="{513664E0-C945-4B00-AC06-F205727D86B6}" dt="2023-10-06T13:12:19.748" v="4" actId="478"/>
          <ac:spMkLst>
            <pc:docMk/>
            <pc:sldMk cId="3092413507" sldId="1262"/>
            <ac:spMk id="4119" creationId="{402CB62B-CFCB-A437-E839-3D86082E4AB9}"/>
          </ac:spMkLst>
        </pc:spChg>
        <pc:spChg chg="del">
          <ac:chgData name="Kellermann, Demian (CYS DEF CERT DF)" userId="0961c1fd-f967-4660-b634-1c9ce6af0b19" providerId="ADAL" clId="{513664E0-C945-4B00-AC06-F205727D86B6}" dt="2023-10-06T13:12:20.888" v="5" actId="478"/>
          <ac:spMkLst>
            <pc:docMk/>
            <pc:sldMk cId="3092413507" sldId="1262"/>
            <ac:spMk id="4120" creationId="{05545F7A-6320-EEED-AF4F-F1B4FF49E9C1}"/>
          </ac:spMkLst>
        </pc:spChg>
        <pc:picChg chg="del">
          <ac:chgData name="Kellermann, Demian (CYS DEF CERT DF)" userId="0961c1fd-f967-4660-b634-1c9ce6af0b19" providerId="ADAL" clId="{513664E0-C945-4B00-AC06-F205727D86B6}" dt="2023-10-06T13:13:07.326" v="11" actId="478"/>
          <ac:picMkLst>
            <pc:docMk/>
            <pc:sldMk cId="3092413507" sldId="1262"/>
            <ac:picMk id="12" creationId="{EB01E020-E294-C31B-E647-75B036C2A585}"/>
          </ac:picMkLst>
        </pc:picChg>
        <pc:picChg chg="mod">
          <ac:chgData name="Kellermann, Demian (CYS DEF CERT DF)" userId="0961c1fd-f967-4660-b634-1c9ce6af0b19" providerId="ADAL" clId="{513664E0-C945-4B00-AC06-F205727D86B6}" dt="2023-10-06T13:13:26.465" v="16" actId="1076"/>
          <ac:picMkLst>
            <pc:docMk/>
            <pc:sldMk cId="3092413507" sldId="1262"/>
            <ac:picMk id="18" creationId="{8C62F4B3-E5BA-1670-EB0E-F24EFB28970A}"/>
          </ac:picMkLst>
        </pc:picChg>
        <pc:picChg chg="del">
          <ac:chgData name="Kellermann, Demian (CYS DEF CERT DF)" userId="0961c1fd-f967-4660-b634-1c9ce6af0b19" providerId="ADAL" clId="{513664E0-C945-4B00-AC06-F205727D86B6}" dt="2023-10-06T13:12:40.267" v="9" actId="478"/>
          <ac:picMkLst>
            <pc:docMk/>
            <pc:sldMk cId="3092413507" sldId="1262"/>
            <ac:picMk id="24" creationId="{DEC15E67-5A23-1AC5-32E6-2DABA00DF3BC}"/>
          </ac:picMkLst>
        </pc:picChg>
        <pc:picChg chg="del">
          <ac:chgData name="Kellermann, Demian (CYS DEF CERT DF)" userId="0961c1fd-f967-4660-b634-1c9ce6af0b19" providerId="ADAL" clId="{513664E0-C945-4B00-AC06-F205727D86B6}" dt="2023-10-06T13:12:31.823" v="7" actId="478"/>
          <ac:picMkLst>
            <pc:docMk/>
            <pc:sldMk cId="3092413507" sldId="1262"/>
            <ac:picMk id="28" creationId="{AA5108FA-02E0-8368-4A5F-F561220A5E77}"/>
          </ac:picMkLst>
        </pc:picChg>
        <pc:cxnChg chg="del mod">
          <ac:chgData name="Kellermann, Demian (CYS DEF CERT DF)" userId="0961c1fd-f967-4660-b634-1c9ce6af0b19" providerId="ADAL" clId="{513664E0-C945-4B00-AC06-F205727D86B6}" dt="2023-10-06T13:12:21.983" v="6" actId="478"/>
          <ac:cxnSpMkLst>
            <pc:docMk/>
            <pc:sldMk cId="3092413507" sldId="1262"/>
            <ac:cxnSpMk id="4122" creationId="{F3952FAB-4A8C-4827-83A7-AE288B868760}"/>
          </ac:cxnSpMkLst>
        </pc:cxnChg>
      </pc:sldChg>
      <pc:sldChg chg="modSp add mod ord modTransition">
        <pc:chgData name="Kellermann, Demian (CYS DEF CERT DF)" userId="0961c1fd-f967-4660-b634-1c9ce6af0b19" providerId="ADAL" clId="{513664E0-C945-4B00-AC06-F205727D86B6}" dt="2023-10-06T17:19:37.924" v="612"/>
        <pc:sldMkLst>
          <pc:docMk/>
          <pc:sldMk cId="2489269100" sldId="1263"/>
        </pc:sldMkLst>
        <pc:spChg chg="mod">
          <ac:chgData name="Kellermann, Demian (CYS DEF CERT DF)" userId="0961c1fd-f967-4660-b634-1c9ce6af0b19" providerId="ADAL" clId="{513664E0-C945-4B00-AC06-F205727D86B6}" dt="2023-10-06T14:11:58.337" v="271" actId="20577"/>
          <ac:spMkLst>
            <pc:docMk/>
            <pc:sldMk cId="2489269100" sldId="1263"/>
            <ac:spMk id="2" creationId="{ED2A6538-2665-470B-AC19-FB1A61DF6AFA}"/>
          </ac:spMkLst>
        </pc:spChg>
        <pc:spChg chg="mod">
          <ac:chgData name="Kellermann, Demian (CYS DEF CERT DF)" userId="0961c1fd-f967-4660-b634-1c9ce6af0b19" providerId="ADAL" clId="{513664E0-C945-4B00-AC06-F205727D86B6}" dt="2023-10-06T14:17:22.049" v="587" actId="20577"/>
          <ac:spMkLst>
            <pc:docMk/>
            <pc:sldMk cId="2489269100" sldId="1263"/>
            <ac:spMk id="3" creationId="{B0FD33D4-9003-4D2C-9514-77CB29C56E02}"/>
          </ac:spMkLst>
        </pc:spChg>
        <pc:spChg chg="mod">
          <ac:chgData name="Kellermann, Demian (CYS DEF CERT DF)" userId="0961c1fd-f967-4660-b634-1c9ce6af0b19" providerId="ADAL" clId="{513664E0-C945-4B00-AC06-F205727D86B6}" dt="2023-10-06T14:17:00.285" v="579" actId="20577"/>
          <ac:spMkLst>
            <pc:docMk/>
            <pc:sldMk cId="2489269100" sldId="1263"/>
            <ac:spMk id="6" creationId="{1C480184-B2EC-43ED-A10E-782E68EE1194}"/>
          </ac:spMkLst>
        </pc:spChg>
        <pc:spChg chg="mod">
          <ac:chgData name="Kellermann, Demian (CYS DEF CERT DF)" userId="0961c1fd-f967-4660-b634-1c9ce6af0b19" providerId="ADAL" clId="{513664E0-C945-4B00-AC06-F205727D86B6}" dt="2023-10-06T14:15:56.011" v="566" actId="20577"/>
          <ac:spMkLst>
            <pc:docMk/>
            <pc:sldMk cId="2489269100" sldId="1263"/>
            <ac:spMk id="7" creationId="{5D5C8547-4A38-4BBE-8146-2BE4EE409A91}"/>
          </ac:spMkLst>
        </pc:spChg>
      </pc:sldChg>
    </pc:docChg>
  </pc:docChgLst>
  <pc:docChgLst>
    <pc:chgData name="Kellermann, Demian (CYS DEF OPS-DE)" userId="0961c1fd-f967-4660-b634-1c9ce6af0b19" providerId="ADAL" clId="{513664E0-C945-4B00-AC06-F205727D86B6}"/>
    <pc:docChg chg="undo redo custSel addSld delSld modSld sldOrd modMainMaster addSection delSection modSection">
      <pc:chgData name="Kellermann, Demian (CYS DEF OPS-DE)" userId="0961c1fd-f967-4660-b634-1c9ce6af0b19" providerId="ADAL" clId="{513664E0-C945-4B00-AC06-F205727D86B6}" dt="2023-10-05T15:22:25.698" v="12252"/>
      <pc:docMkLst>
        <pc:docMk/>
      </pc:docMkLst>
      <pc:sldChg chg="del">
        <pc:chgData name="Kellermann, Demian (CYS DEF OPS-DE)" userId="0961c1fd-f967-4660-b634-1c9ce6af0b19" providerId="ADAL" clId="{513664E0-C945-4B00-AC06-F205727D86B6}" dt="2023-10-02T16:38:23.030" v="10036" actId="47"/>
        <pc:sldMkLst>
          <pc:docMk/>
          <pc:sldMk cId="4291042792" sldId="266"/>
        </pc:sldMkLst>
      </pc:sldChg>
      <pc:sldChg chg="del ord">
        <pc:chgData name="Kellermann, Demian (CYS DEF OPS-DE)" userId="0961c1fd-f967-4660-b634-1c9ce6af0b19" providerId="ADAL" clId="{513664E0-C945-4B00-AC06-F205727D86B6}" dt="2023-10-05T13:33:45.065" v="11934" actId="47"/>
        <pc:sldMkLst>
          <pc:docMk/>
          <pc:sldMk cId="1500305047" sldId="267"/>
        </pc:sldMkLst>
      </pc:sldChg>
      <pc:sldChg chg="addSp delSp modSp mod">
        <pc:chgData name="Kellermann, Demian (CYS DEF OPS-DE)" userId="0961c1fd-f967-4660-b634-1c9ce6af0b19" providerId="ADAL" clId="{513664E0-C945-4B00-AC06-F205727D86B6}" dt="2023-10-05T14:33:40.858" v="12213" actId="108"/>
        <pc:sldMkLst>
          <pc:docMk/>
          <pc:sldMk cId="3044083358" sldId="268"/>
        </pc:sldMkLst>
        <pc:spChg chg="add del mod">
          <ac:chgData name="Kellermann, Demian (CYS DEF OPS-DE)" userId="0961c1fd-f967-4660-b634-1c9ce6af0b19" providerId="ADAL" clId="{513664E0-C945-4B00-AC06-F205727D86B6}" dt="2023-09-28T11:05:53.983" v="342"/>
          <ac:spMkLst>
            <pc:docMk/>
            <pc:sldMk cId="3044083358" sldId="268"/>
            <ac:spMk id="2" creationId="{7D86EBFB-CE6A-4758-896A-AAD8E1D08CC8}"/>
          </ac:spMkLst>
        </pc:spChg>
        <pc:spChg chg="mod">
          <ac:chgData name="Kellermann, Demian (CYS DEF OPS-DE)" userId="0961c1fd-f967-4660-b634-1c9ce6af0b19" providerId="ADAL" clId="{513664E0-C945-4B00-AC06-F205727D86B6}" dt="2023-10-05T14:33:40.858" v="12213" actId="108"/>
          <ac:spMkLst>
            <pc:docMk/>
            <pc:sldMk cId="3044083358" sldId="268"/>
            <ac:spMk id="3" creationId="{A8C0B1B3-7902-4A0F-A274-1F5878B8197A}"/>
          </ac:spMkLst>
        </pc:spChg>
        <pc:spChg chg="add del mod">
          <ac:chgData name="Kellermann, Demian (CYS DEF OPS-DE)" userId="0961c1fd-f967-4660-b634-1c9ce6af0b19" providerId="ADAL" clId="{513664E0-C945-4B00-AC06-F205727D86B6}" dt="2023-09-28T11:04:25.856" v="299"/>
          <ac:spMkLst>
            <pc:docMk/>
            <pc:sldMk cId="3044083358" sldId="268"/>
            <ac:spMk id="5" creationId="{33BC43BD-82AD-587B-AF82-AFFA3C957AD3}"/>
          </ac:spMkLst>
        </pc:spChg>
        <pc:spChg chg="mod">
          <ac:chgData name="Kellermann, Demian (CYS DEF OPS-DE)" userId="0961c1fd-f967-4660-b634-1c9ce6af0b19" providerId="ADAL" clId="{513664E0-C945-4B00-AC06-F205727D86B6}" dt="2023-10-02T13:41:45.903" v="9186" actId="20577"/>
          <ac:spMkLst>
            <pc:docMk/>
            <pc:sldMk cId="3044083358" sldId="268"/>
            <ac:spMk id="12" creationId="{EF7BA6B8-2D49-49EE-AA38-401584ACB3E0}"/>
          </ac:spMkLst>
        </pc:spChg>
      </pc:sldChg>
      <pc:sldChg chg="del">
        <pc:chgData name="Kellermann, Demian (CYS DEF OPS-DE)" userId="0961c1fd-f967-4660-b634-1c9ce6af0b19" providerId="ADAL" clId="{513664E0-C945-4B00-AC06-F205727D86B6}" dt="2023-10-02T16:38:23.030" v="10036" actId="47"/>
        <pc:sldMkLst>
          <pc:docMk/>
          <pc:sldMk cId="2588031814" sldId="282"/>
        </pc:sldMkLst>
      </pc:sldChg>
      <pc:sldChg chg="modSp del mod">
        <pc:chgData name="Kellermann, Demian (CYS DEF OPS-DE)" userId="0961c1fd-f967-4660-b634-1c9ce6af0b19" providerId="ADAL" clId="{513664E0-C945-4B00-AC06-F205727D86B6}" dt="2023-10-02T16:38:23.030" v="10036" actId="47"/>
        <pc:sldMkLst>
          <pc:docMk/>
          <pc:sldMk cId="2787577464" sldId="290"/>
        </pc:sldMkLst>
        <pc:spChg chg="mod">
          <ac:chgData name="Kellermann, Demian (CYS DEF OPS-DE)" userId="0961c1fd-f967-4660-b634-1c9ce6af0b19" providerId="ADAL" clId="{513664E0-C945-4B00-AC06-F205727D86B6}" dt="2023-10-02T16:11:33.978" v="9915" actId="113"/>
          <ac:spMkLst>
            <pc:docMk/>
            <pc:sldMk cId="2787577464" sldId="290"/>
            <ac:spMk id="3" creationId="{B9397CCD-C35C-476B-9FB3-61FA21A8A35A}"/>
          </ac:spMkLst>
        </pc:spChg>
      </pc:sldChg>
      <pc:sldChg chg="del ord">
        <pc:chgData name="Kellermann, Demian (CYS DEF OPS-DE)" userId="0961c1fd-f967-4660-b634-1c9ce6af0b19" providerId="ADAL" clId="{513664E0-C945-4B00-AC06-F205727D86B6}" dt="2023-10-05T13:33:45.065" v="11934" actId="47"/>
        <pc:sldMkLst>
          <pc:docMk/>
          <pc:sldMk cId="357168791" sldId="300"/>
        </pc:sldMkLst>
      </pc:sldChg>
      <pc:sldChg chg="del">
        <pc:chgData name="Kellermann, Demian (CYS DEF OPS-DE)" userId="0961c1fd-f967-4660-b634-1c9ce6af0b19" providerId="ADAL" clId="{513664E0-C945-4B00-AC06-F205727D86B6}" dt="2023-10-02T16:38:23.030" v="10036" actId="47"/>
        <pc:sldMkLst>
          <pc:docMk/>
          <pc:sldMk cId="3336576433" sldId="305"/>
        </pc:sldMkLst>
      </pc:sldChg>
      <pc:sldChg chg="del">
        <pc:chgData name="Kellermann, Demian (CYS DEF OPS-DE)" userId="0961c1fd-f967-4660-b634-1c9ce6af0b19" providerId="ADAL" clId="{513664E0-C945-4B00-AC06-F205727D86B6}" dt="2023-10-02T16:37:49.370" v="10030" actId="47"/>
        <pc:sldMkLst>
          <pc:docMk/>
          <pc:sldMk cId="869499180" sldId="313"/>
        </pc:sldMkLst>
      </pc:sldChg>
      <pc:sldChg chg="del ord">
        <pc:chgData name="Kellermann, Demian (CYS DEF OPS-DE)" userId="0961c1fd-f967-4660-b634-1c9ce6af0b19" providerId="ADAL" clId="{513664E0-C945-4B00-AC06-F205727D86B6}" dt="2023-10-05T13:33:45.065" v="11934" actId="47"/>
        <pc:sldMkLst>
          <pc:docMk/>
          <pc:sldMk cId="1470302521" sldId="315"/>
        </pc:sldMkLst>
      </pc:sldChg>
      <pc:sldChg chg="del">
        <pc:chgData name="Kellermann, Demian (CYS DEF OPS-DE)" userId="0961c1fd-f967-4660-b634-1c9ce6af0b19" providerId="ADAL" clId="{513664E0-C945-4B00-AC06-F205727D86B6}" dt="2023-10-02T16:37:49.370" v="10030" actId="47"/>
        <pc:sldMkLst>
          <pc:docMk/>
          <pc:sldMk cId="2969443571" sldId="317"/>
        </pc:sldMkLst>
      </pc:sldChg>
      <pc:sldChg chg="del ord">
        <pc:chgData name="Kellermann, Demian (CYS DEF OPS-DE)" userId="0961c1fd-f967-4660-b634-1c9ce6af0b19" providerId="ADAL" clId="{513664E0-C945-4B00-AC06-F205727D86B6}" dt="2023-10-05T13:33:45.065" v="11934" actId="47"/>
        <pc:sldMkLst>
          <pc:docMk/>
          <pc:sldMk cId="1748855520" sldId="327"/>
        </pc:sldMkLst>
      </pc:sldChg>
      <pc:sldChg chg="delSp modSp mod ord">
        <pc:chgData name="Kellermann, Demian (CYS DEF OPS-DE)" userId="0961c1fd-f967-4660-b634-1c9ce6af0b19" providerId="ADAL" clId="{513664E0-C945-4B00-AC06-F205727D86B6}" dt="2023-10-05T15:22:25.698" v="12252"/>
        <pc:sldMkLst>
          <pc:docMk/>
          <pc:sldMk cId="1824944934" sldId="331"/>
        </pc:sldMkLst>
        <pc:spChg chg="mod">
          <ac:chgData name="Kellermann, Demian (CYS DEF OPS-DE)" userId="0961c1fd-f967-4660-b634-1c9ce6af0b19" providerId="ADAL" clId="{513664E0-C945-4B00-AC06-F205727D86B6}" dt="2023-10-05T13:35:03.956" v="11945" actId="20577"/>
          <ac:spMkLst>
            <pc:docMk/>
            <pc:sldMk cId="1824944934" sldId="331"/>
            <ac:spMk id="3" creationId="{FA780292-C0CC-4592-821D-49442EB402A4}"/>
          </ac:spMkLst>
        </pc:spChg>
        <pc:spChg chg="mod">
          <ac:chgData name="Kellermann, Demian (CYS DEF OPS-DE)" userId="0961c1fd-f967-4660-b634-1c9ce6af0b19" providerId="ADAL" clId="{513664E0-C945-4B00-AC06-F205727D86B6}" dt="2023-10-05T15:22:25.698" v="12252"/>
          <ac:spMkLst>
            <pc:docMk/>
            <pc:sldMk cId="1824944934" sldId="331"/>
            <ac:spMk id="4" creationId="{8BD53B96-555B-4A23-B598-D2DC9CBA86C8}"/>
          </ac:spMkLst>
        </pc:spChg>
        <pc:spChg chg="del">
          <ac:chgData name="Kellermann, Demian (CYS DEF OPS-DE)" userId="0961c1fd-f967-4660-b634-1c9ce6af0b19" providerId="ADAL" clId="{513664E0-C945-4B00-AC06-F205727D86B6}" dt="2023-10-05T13:34:46.151" v="11938" actId="478"/>
          <ac:spMkLst>
            <pc:docMk/>
            <pc:sldMk cId="1824944934" sldId="331"/>
            <ac:spMk id="8" creationId="{3A159D1C-1ED6-4A0A-95C3-4E6498720294}"/>
          </ac:spMkLst>
        </pc:spChg>
        <pc:graphicFrameChg chg="modGraphic">
          <ac:chgData name="Kellermann, Demian (CYS DEF OPS-DE)" userId="0961c1fd-f967-4660-b634-1c9ce6af0b19" providerId="ADAL" clId="{513664E0-C945-4B00-AC06-F205727D86B6}" dt="2023-10-05T13:34:37.766" v="11937" actId="27115"/>
          <ac:graphicFrameMkLst>
            <pc:docMk/>
            <pc:sldMk cId="1824944934" sldId="331"/>
            <ac:graphicFrameMk id="7" creationId="{894F39BB-9840-4FB8-A9D1-94250FBE0564}"/>
          </ac:graphicFrameMkLst>
        </pc:graphicFrameChg>
      </pc:sldChg>
      <pc:sldChg chg="del ord">
        <pc:chgData name="Kellermann, Demian (CYS DEF OPS-DE)" userId="0961c1fd-f967-4660-b634-1c9ce6af0b19" providerId="ADAL" clId="{513664E0-C945-4B00-AC06-F205727D86B6}" dt="2023-10-05T13:33:45.065" v="11934" actId="47"/>
        <pc:sldMkLst>
          <pc:docMk/>
          <pc:sldMk cId="2496441358" sldId="332"/>
        </pc:sldMkLst>
      </pc:sldChg>
      <pc:sldChg chg="del">
        <pc:chgData name="Kellermann, Demian (CYS DEF OPS-DE)" userId="0961c1fd-f967-4660-b634-1c9ce6af0b19" providerId="ADAL" clId="{513664E0-C945-4B00-AC06-F205727D86B6}" dt="2023-10-02T16:38:23.030" v="10036" actId="47"/>
        <pc:sldMkLst>
          <pc:docMk/>
          <pc:sldMk cId="529998100" sldId="336"/>
        </pc:sldMkLst>
      </pc:sldChg>
      <pc:sldChg chg="del">
        <pc:chgData name="Kellermann, Demian (CYS DEF OPS-DE)" userId="0961c1fd-f967-4660-b634-1c9ce6af0b19" providerId="ADAL" clId="{513664E0-C945-4B00-AC06-F205727D86B6}" dt="2023-10-02T16:38:51.874" v="10039" actId="47"/>
        <pc:sldMkLst>
          <pc:docMk/>
          <pc:sldMk cId="3405433239" sldId="339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255591453" sldId="340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669797338" sldId="341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2159355435" sldId="342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41984877" sldId="343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1220026651" sldId="344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473159494" sldId="345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1695493226" sldId="347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942283136" sldId="348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1195743572" sldId="349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826715043" sldId="350"/>
        </pc:sldMkLst>
      </pc:sldChg>
      <pc:sldChg chg="del ord">
        <pc:chgData name="Kellermann, Demian (CYS DEF OPS-DE)" userId="0961c1fd-f967-4660-b634-1c9ce6af0b19" providerId="ADAL" clId="{513664E0-C945-4B00-AC06-F205727D86B6}" dt="2023-10-05T13:33:45.065" v="11934" actId="47"/>
        <pc:sldMkLst>
          <pc:docMk/>
          <pc:sldMk cId="405046474" sldId="355"/>
        </pc:sldMkLst>
      </pc:sldChg>
      <pc:sldChg chg="del">
        <pc:chgData name="Kellermann, Demian (CYS DEF OPS-DE)" userId="0961c1fd-f967-4660-b634-1c9ce6af0b19" providerId="ADAL" clId="{513664E0-C945-4B00-AC06-F205727D86B6}" dt="2023-10-02T13:41:55.263" v="9187" actId="47"/>
        <pc:sldMkLst>
          <pc:docMk/>
          <pc:sldMk cId="2435204155" sldId="358"/>
        </pc:sldMkLst>
      </pc:sldChg>
      <pc:sldChg chg="del ord">
        <pc:chgData name="Kellermann, Demian (CYS DEF OPS-DE)" userId="0961c1fd-f967-4660-b634-1c9ce6af0b19" providerId="ADAL" clId="{513664E0-C945-4B00-AC06-F205727D86B6}" dt="2023-10-05T13:33:47.165" v="11935" actId="47"/>
        <pc:sldMkLst>
          <pc:docMk/>
          <pc:sldMk cId="4225993985" sldId="359"/>
        </pc:sldMkLst>
      </pc:sldChg>
      <pc:sldChg chg="del ord">
        <pc:chgData name="Kellermann, Demian (CYS DEF OPS-DE)" userId="0961c1fd-f967-4660-b634-1c9ce6af0b19" providerId="ADAL" clId="{513664E0-C945-4B00-AC06-F205727D86B6}" dt="2023-10-05T13:33:47.165" v="11935" actId="47"/>
        <pc:sldMkLst>
          <pc:docMk/>
          <pc:sldMk cId="1248602970" sldId="360"/>
        </pc:sldMkLst>
      </pc:sldChg>
      <pc:sldChg chg="addSp delSp del mod">
        <pc:chgData name="Kellermann, Demian (CYS DEF OPS-DE)" userId="0961c1fd-f967-4660-b634-1c9ce6af0b19" providerId="ADAL" clId="{513664E0-C945-4B00-AC06-F205727D86B6}" dt="2023-10-02T16:39:27.454" v="10040" actId="47"/>
        <pc:sldMkLst>
          <pc:docMk/>
          <pc:sldMk cId="3408986054" sldId="1167"/>
        </pc:sldMkLst>
        <pc:spChg chg="add del">
          <ac:chgData name="Kellermann, Demian (CYS DEF OPS-DE)" userId="0961c1fd-f967-4660-b634-1c9ce6af0b19" providerId="ADAL" clId="{513664E0-C945-4B00-AC06-F205727D86B6}" dt="2023-09-28T11:08:35.652" v="344" actId="22"/>
          <ac:spMkLst>
            <pc:docMk/>
            <pc:sldMk cId="3408986054" sldId="1167"/>
            <ac:spMk id="5" creationId="{6370EA64-6992-EDBF-A622-ED6EAEB3712A}"/>
          </ac:spMkLst>
        </pc:sp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928641511" sldId="1168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230818928" sldId="1169"/>
        </pc:sldMkLst>
      </pc:sldChg>
      <pc:sldChg chg="addSp delSp modSp del mod ord">
        <pc:chgData name="Kellermann, Demian (CYS DEF OPS-DE)" userId="0961c1fd-f967-4660-b634-1c9ce6af0b19" providerId="ADAL" clId="{513664E0-C945-4B00-AC06-F205727D86B6}" dt="2023-10-05T13:32:32.841" v="11922"/>
        <pc:sldMkLst>
          <pc:docMk/>
          <pc:sldMk cId="3955108308" sldId="1170"/>
        </pc:sldMkLst>
        <pc:spChg chg="add del">
          <ac:chgData name="Kellermann, Demian (CYS DEF OPS-DE)" userId="0961c1fd-f967-4660-b634-1c9ce6af0b19" providerId="ADAL" clId="{513664E0-C945-4B00-AC06-F205727D86B6}" dt="2023-10-05T10:31:34.058" v="10152" actId="478"/>
          <ac:spMkLst>
            <pc:docMk/>
            <pc:sldMk cId="3955108308" sldId="1170"/>
            <ac:spMk id="2" creationId="{27507DB2-A004-4C7F-BB03-CAB07E07A0D3}"/>
          </ac:spMkLst>
        </pc:spChg>
        <pc:spChg chg="mod">
          <ac:chgData name="Kellermann, Demian (CYS DEF OPS-DE)" userId="0961c1fd-f967-4660-b634-1c9ce6af0b19" providerId="ADAL" clId="{513664E0-C945-4B00-AC06-F205727D86B6}" dt="2023-10-05T10:30:18.876" v="10093"/>
          <ac:spMkLst>
            <pc:docMk/>
            <pc:sldMk cId="3955108308" sldId="1170"/>
            <ac:spMk id="4" creationId="{219E2082-A671-48FA-BA58-21BFEF63DFFA}"/>
          </ac:spMkLst>
        </pc:spChg>
        <pc:spChg chg="mod">
          <ac:chgData name="Kellermann, Demian (CYS DEF OPS-DE)" userId="0961c1fd-f967-4660-b634-1c9ce6af0b19" providerId="ADAL" clId="{513664E0-C945-4B00-AC06-F205727D86B6}" dt="2023-10-05T10:31:28.838" v="10151" actId="20577"/>
          <ac:spMkLst>
            <pc:docMk/>
            <pc:sldMk cId="3955108308" sldId="1170"/>
            <ac:spMk id="5" creationId="{F640B5D6-DA30-4A72-90BF-4686C1ACCA99}"/>
          </ac:spMkLst>
        </pc:spChg>
        <pc:spChg chg="add del mod">
          <ac:chgData name="Kellermann, Demian (CYS DEF OPS-DE)" userId="0961c1fd-f967-4660-b634-1c9ce6af0b19" providerId="ADAL" clId="{513664E0-C945-4B00-AC06-F205727D86B6}" dt="2023-10-05T10:31:15.684" v="10120" actId="478"/>
          <ac:spMkLst>
            <pc:docMk/>
            <pc:sldMk cId="3955108308" sldId="1170"/>
            <ac:spMk id="7" creationId="{B01FDFDB-3A3C-B2D0-BE91-4E3064BBC1E8}"/>
          </ac:spMkLst>
        </pc:spChg>
        <pc:spChg chg="add del mod">
          <ac:chgData name="Kellermann, Demian (CYS DEF OPS-DE)" userId="0961c1fd-f967-4660-b634-1c9ce6af0b19" providerId="ADAL" clId="{513664E0-C945-4B00-AC06-F205727D86B6}" dt="2023-10-05T10:31:36.743" v="10153" actId="478"/>
          <ac:spMkLst>
            <pc:docMk/>
            <pc:sldMk cId="3955108308" sldId="1170"/>
            <ac:spMk id="9" creationId="{C9B356F3-AEF8-37D0-D67A-8D07C57EBE91}"/>
          </ac:spMkLst>
        </pc:spChg>
      </pc:sldChg>
      <pc:sldChg chg="del">
        <pc:chgData name="Kellermann, Demian (CYS DEF OPS-DE)" userId="0961c1fd-f967-4660-b634-1c9ce6af0b19" providerId="ADAL" clId="{513664E0-C945-4B00-AC06-F205727D86B6}" dt="2023-10-02T16:37:49.370" v="10030" actId="47"/>
        <pc:sldMkLst>
          <pc:docMk/>
          <pc:sldMk cId="2003471651" sldId="1171"/>
        </pc:sldMkLst>
      </pc:sldChg>
      <pc:sldChg chg="del">
        <pc:chgData name="Kellermann, Demian (CYS DEF OPS-DE)" userId="0961c1fd-f967-4660-b634-1c9ce6af0b19" providerId="ADAL" clId="{513664E0-C945-4B00-AC06-F205727D86B6}" dt="2023-10-02T16:37:49.370" v="10030" actId="47"/>
        <pc:sldMkLst>
          <pc:docMk/>
          <pc:sldMk cId="1614690746" sldId="1172"/>
        </pc:sldMkLst>
      </pc:sldChg>
      <pc:sldChg chg="del">
        <pc:chgData name="Kellermann, Demian (CYS DEF OPS-DE)" userId="0961c1fd-f967-4660-b634-1c9ce6af0b19" providerId="ADAL" clId="{513664E0-C945-4B00-AC06-F205727D86B6}" dt="2023-10-02T16:37:49.370" v="10030" actId="47"/>
        <pc:sldMkLst>
          <pc:docMk/>
          <pc:sldMk cId="3522152137" sldId="1173"/>
        </pc:sldMkLst>
      </pc:sldChg>
      <pc:sldChg chg="del">
        <pc:chgData name="Kellermann, Demian (CYS DEF OPS-DE)" userId="0961c1fd-f967-4660-b634-1c9ce6af0b19" providerId="ADAL" clId="{513664E0-C945-4B00-AC06-F205727D86B6}" dt="2023-10-02T16:37:49.370" v="10030" actId="47"/>
        <pc:sldMkLst>
          <pc:docMk/>
          <pc:sldMk cId="3177220602" sldId="1174"/>
        </pc:sldMkLst>
      </pc:sldChg>
      <pc:sldChg chg="del">
        <pc:chgData name="Kellermann, Demian (CYS DEF OPS-DE)" userId="0961c1fd-f967-4660-b634-1c9ce6af0b19" providerId="ADAL" clId="{513664E0-C945-4B00-AC06-F205727D86B6}" dt="2023-10-02T16:38:23.030" v="10036" actId="47"/>
        <pc:sldMkLst>
          <pc:docMk/>
          <pc:sldMk cId="435388989" sldId="1176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805195560" sldId="1184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166409655" sldId="1185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1112151404" sldId="1186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2574497111" sldId="1187"/>
        </pc:sldMkLst>
      </pc:sldChg>
      <pc:sldChg chg="addSp delSp modSp del mod addAnim delAnim modAnim">
        <pc:chgData name="Kellermann, Demian (CYS DEF OPS-DE)" userId="0961c1fd-f967-4660-b634-1c9ce6af0b19" providerId="ADAL" clId="{513664E0-C945-4B00-AC06-F205727D86B6}" dt="2023-09-28T12:31:24.579" v="1573" actId="47"/>
        <pc:sldMkLst>
          <pc:docMk/>
          <pc:sldMk cId="2244035927" sldId="1192"/>
        </pc:sldMkLst>
        <pc:spChg chg="del mod">
          <ac:chgData name="Kellermann, Demian (CYS DEF OPS-DE)" userId="0961c1fd-f967-4660-b634-1c9ce6af0b19" providerId="ADAL" clId="{513664E0-C945-4B00-AC06-F205727D86B6}" dt="2023-09-28T12:18:38.596" v="1266" actId="478"/>
          <ac:spMkLst>
            <pc:docMk/>
            <pc:sldMk cId="2244035927" sldId="1192"/>
            <ac:spMk id="3" creationId="{00000000-0000-0000-0000-000000000000}"/>
          </ac:spMkLst>
        </pc:spChg>
        <pc:spChg chg="del">
          <ac:chgData name="Kellermann, Demian (CYS DEF OPS-DE)" userId="0961c1fd-f967-4660-b634-1c9ce6af0b19" providerId="ADAL" clId="{513664E0-C945-4B00-AC06-F205727D86B6}" dt="2023-09-28T12:18:55.668" v="1270" actId="478"/>
          <ac:spMkLst>
            <pc:docMk/>
            <pc:sldMk cId="2244035927" sldId="1192"/>
            <ac:spMk id="4" creationId="{00000000-0000-0000-0000-000000000000}"/>
          </ac:spMkLst>
        </pc:spChg>
        <pc:spChg chg="mod">
          <ac:chgData name="Kellermann, Demian (CYS DEF OPS-DE)" userId="0961c1fd-f967-4660-b634-1c9ce6af0b19" providerId="ADAL" clId="{513664E0-C945-4B00-AC06-F205727D86B6}" dt="2023-09-28T12:12:52.541" v="1254" actId="14100"/>
          <ac:spMkLst>
            <pc:docMk/>
            <pc:sldMk cId="2244035927" sldId="1192"/>
            <ac:spMk id="8" creationId="{00000000-0000-0000-0000-000000000000}"/>
          </ac:spMkLst>
        </pc:spChg>
        <pc:spChg chg="del mod">
          <ac:chgData name="Kellermann, Demian (CYS DEF OPS-DE)" userId="0961c1fd-f967-4660-b634-1c9ce6af0b19" providerId="ADAL" clId="{513664E0-C945-4B00-AC06-F205727D86B6}" dt="2023-09-28T12:18:37.046" v="1265" actId="478"/>
          <ac:spMkLst>
            <pc:docMk/>
            <pc:sldMk cId="2244035927" sldId="1192"/>
            <ac:spMk id="36" creationId="{00000000-0000-0000-0000-000000000000}"/>
          </ac:spMkLst>
        </pc:spChg>
        <pc:spChg chg="del">
          <ac:chgData name="Kellermann, Demian (CYS DEF OPS-DE)" userId="0961c1fd-f967-4660-b634-1c9ce6af0b19" providerId="ADAL" clId="{513664E0-C945-4B00-AC06-F205727D86B6}" dt="2023-09-28T12:18:59.823" v="1273" actId="478"/>
          <ac:spMkLst>
            <pc:docMk/>
            <pc:sldMk cId="2244035927" sldId="1192"/>
            <ac:spMk id="38" creationId="{00000000-0000-0000-0000-000000000000}"/>
          </ac:spMkLst>
        </pc:spChg>
        <pc:spChg chg="del">
          <ac:chgData name="Kellermann, Demian (CYS DEF OPS-DE)" userId="0961c1fd-f967-4660-b634-1c9ce6af0b19" providerId="ADAL" clId="{513664E0-C945-4B00-AC06-F205727D86B6}" dt="2023-09-28T12:19:02.998" v="1274" actId="478"/>
          <ac:spMkLst>
            <pc:docMk/>
            <pc:sldMk cId="2244035927" sldId="1192"/>
            <ac:spMk id="39" creationId="{00000000-0000-0000-0000-000000000000}"/>
          </ac:spMkLst>
        </pc:spChg>
        <pc:spChg chg="del">
          <ac:chgData name="Kellermann, Demian (CYS DEF OPS-DE)" userId="0961c1fd-f967-4660-b634-1c9ce6af0b19" providerId="ADAL" clId="{513664E0-C945-4B00-AC06-F205727D86B6}" dt="2023-09-28T12:18:43.391" v="1269" actId="478"/>
          <ac:spMkLst>
            <pc:docMk/>
            <pc:sldMk cId="2244035927" sldId="1192"/>
            <ac:spMk id="65" creationId="{00000000-0000-0000-0000-000000000000}"/>
          </ac:spMkLst>
        </pc:spChg>
        <pc:grpChg chg="add del mod">
          <ac:chgData name="Kellermann, Demian (CYS DEF OPS-DE)" userId="0961c1fd-f967-4660-b634-1c9ce6af0b19" providerId="ADAL" clId="{513664E0-C945-4B00-AC06-F205727D86B6}" dt="2023-09-28T12:18:57.734" v="1272" actId="478"/>
          <ac:grpSpMkLst>
            <pc:docMk/>
            <pc:sldMk cId="2244035927" sldId="1192"/>
            <ac:grpSpMk id="6" creationId="{00000000-0000-0000-0000-000000000000}"/>
          </ac:grpSpMkLst>
        </pc:grpChg>
        <pc:grpChg chg="add del mod">
          <ac:chgData name="Kellermann, Demian (CYS DEF OPS-DE)" userId="0961c1fd-f967-4660-b634-1c9ce6af0b19" providerId="ADAL" clId="{513664E0-C945-4B00-AC06-F205727D86B6}" dt="2023-09-28T12:18:41.681" v="1268" actId="478"/>
          <ac:grpSpMkLst>
            <pc:docMk/>
            <pc:sldMk cId="2244035927" sldId="1192"/>
            <ac:grpSpMk id="11" creationId="{00000000-0000-0000-0000-000000000000}"/>
          </ac:grpSpMkLst>
        </pc:grp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1158257041" sldId="1193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13436133" sldId="1194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949757256" sldId="1195"/>
        </pc:sldMkLst>
      </pc:sldChg>
      <pc:sldChg chg="del ord">
        <pc:chgData name="Kellermann, Demian (CYS DEF OPS-DE)" userId="0961c1fd-f967-4660-b634-1c9ce6af0b19" providerId="ADAL" clId="{513664E0-C945-4B00-AC06-F205727D86B6}" dt="2023-10-05T13:33:45.065" v="11934" actId="47"/>
        <pc:sldMkLst>
          <pc:docMk/>
          <pc:sldMk cId="1172274543" sldId="1196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2563079142" sldId="1197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534921338" sldId="1198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1597044643" sldId="1203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774705203" sldId="1204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2158306925" sldId="1205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2970369981" sldId="1206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4293865725" sldId="1207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739058021" sldId="1208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45352816" sldId="1209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180594592" sldId="1210"/>
        </pc:sldMkLst>
      </pc:sldChg>
      <pc:sldChg chg="del ord">
        <pc:chgData name="Kellermann, Demian (CYS DEF OPS-DE)" userId="0961c1fd-f967-4660-b634-1c9ce6af0b19" providerId="ADAL" clId="{513664E0-C945-4B00-AC06-F205727D86B6}" dt="2023-10-05T13:33:47.165" v="11935" actId="47"/>
        <pc:sldMkLst>
          <pc:docMk/>
          <pc:sldMk cId="939850400" sldId="1211"/>
        </pc:sldMkLst>
      </pc:sldChg>
      <pc:sldChg chg="addSp delSp modSp mod">
        <pc:chgData name="Kellermann, Demian (CYS DEF OPS-DE)" userId="0961c1fd-f967-4660-b634-1c9ce6af0b19" providerId="ADAL" clId="{513664E0-C945-4B00-AC06-F205727D86B6}" dt="2023-10-05T14:47:51.101" v="12218" actId="6549"/>
        <pc:sldMkLst>
          <pc:docMk/>
          <pc:sldMk cId="1053205732" sldId="1212"/>
        </pc:sldMkLst>
        <pc:spChg chg="mod">
          <ac:chgData name="Kellermann, Demian (CYS DEF OPS-DE)" userId="0961c1fd-f967-4660-b634-1c9ce6af0b19" providerId="ADAL" clId="{513664E0-C945-4B00-AC06-F205727D86B6}" dt="2023-09-28T10:58:39.183" v="31" actId="20577"/>
          <ac:spMkLst>
            <pc:docMk/>
            <pc:sldMk cId="1053205732" sldId="1212"/>
            <ac:spMk id="2" creationId="{8FDA17C2-CC0D-4A70-A1C4-4DAA44F64772}"/>
          </ac:spMkLst>
        </pc:spChg>
        <pc:spChg chg="mod">
          <ac:chgData name="Kellermann, Demian (CYS DEF OPS-DE)" userId="0961c1fd-f967-4660-b634-1c9ce6af0b19" providerId="ADAL" clId="{513664E0-C945-4B00-AC06-F205727D86B6}" dt="2023-10-05T14:47:51.101" v="12218" actId="6549"/>
          <ac:spMkLst>
            <pc:docMk/>
            <pc:sldMk cId="1053205732" sldId="1212"/>
            <ac:spMk id="5" creationId="{C14414CC-0D3D-4B70-91D9-2F124E04E6B2}"/>
          </ac:spMkLst>
        </pc:spChg>
        <pc:spChg chg="mod">
          <ac:chgData name="Kellermann, Demian (CYS DEF OPS-DE)" userId="0961c1fd-f967-4660-b634-1c9ce6af0b19" providerId="ADAL" clId="{513664E0-C945-4B00-AC06-F205727D86B6}" dt="2023-09-28T11:00:22.173" v="136" actId="1035"/>
          <ac:spMkLst>
            <pc:docMk/>
            <pc:sldMk cId="1053205732" sldId="1212"/>
            <ac:spMk id="6" creationId="{DA865AB3-8AE0-4AB0-94C2-2E517EC147DE}"/>
          </ac:spMkLst>
        </pc:spChg>
        <pc:spChg chg="del">
          <ac:chgData name="Kellermann, Demian (CYS DEF OPS-DE)" userId="0961c1fd-f967-4660-b634-1c9ce6af0b19" providerId="ADAL" clId="{513664E0-C945-4B00-AC06-F205727D86B6}" dt="2023-09-28T10:58:52.386" v="32" actId="478"/>
          <ac:spMkLst>
            <pc:docMk/>
            <pc:sldMk cId="1053205732" sldId="1212"/>
            <ac:spMk id="23" creationId="{E70F59FA-18F8-424F-8224-6E458B3382DD}"/>
          </ac:spMkLst>
        </pc:spChg>
        <pc:picChg chg="add mod">
          <ac:chgData name="Kellermann, Demian (CYS DEF OPS-DE)" userId="0961c1fd-f967-4660-b634-1c9ce6af0b19" providerId="ADAL" clId="{513664E0-C945-4B00-AC06-F205727D86B6}" dt="2023-09-28T11:00:12.652" v="107" actId="1035"/>
          <ac:picMkLst>
            <pc:docMk/>
            <pc:sldMk cId="1053205732" sldId="1212"/>
            <ac:picMk id="3" creationId="{2165EB9D-4CFC-60B1-F3B3-23E4FA280A2E}"/>
          </ac:picMkLst>
        </pc:picChg>
      </pc:sldChg>
      <pc:sldChg chg="modSp add mod ord">
        <pc:chgData name="Kellermann, Demian (CYS DEF OPS-DE)" userId="0961c1fd-f967-4660-b634-1c9ce6af0b19" providerId="ADAL" clId="{513664E0-C945-4B00-AC06-F205727D86B6}" dt="2023-10-05T13:51:41.576" v="11991" actId="20577"/>
        <pc:sldMkLst>
          <pc:docMk/>
          <pc:sldMk cId="1343131991" sldId="1213"/>
        </pc:sldMkLst>
        <pc:spChg chg="mod">
          <ac:chgData name="Kellermann, Demian (CYS DEF OPS-DE)" userId="0961c1fd-f967-4660-b634-1c9ce6af0b19" providerId="ADAL" clId="{513664E0-C945-4B00-AC06-F205727D86B6}" dt="2023-09-28T11:24:28.044" v="802" actId="20577"/>
          <ac:spMkLst>
            <pc:docMk/>
            <pc:sldMk cId="1343131991" sldId="1213"/>
            <ac:spMk id="2" creationId="{ED2A6538-2665-470B-AC19-FB1A61DF6AFA}"/>
          </ac:spMkLst>
        </pc:spChg>
        <pc:spChg chg="mod">
          <ac:chgData name="Kellermann, Demian (CYS DEF OPS-DE)" userId="0961c1fd-f967-4660-b634-1c9ce6af0b19" providerId="ADAL" clId="{513664E0-C945-4B00-AC06-F205727D86B6}" dt="2023-09-28T11:09:05.136" v="364" actId="20577"/>
          <ac:spMkLst>
            <pc:docMk/>
            <pc:sldMk cId="1343131991" sldId="1213"/>
            <ac:spMk id="3" creationId="{B0FD33D4-9003-4D2C-9514-77CB29C56E02}"/>
          </ac:spMkLst>
        </pc:spChg>
        <pc:spChg chg="mod">
          <ac:chgData name="Kellermann, Demian (CYS DEF OPS-DE)" userId="0961c1fd-f967-4660-b634-1c9ce6af0b19" providerId="ADAL" clId="{513664E0-C945-4B00-AC06-F205727D86B6}" dt="2023-09-28T11:52:32.315" v="803"/>
          <ac:spMkLst>
            <pc:docMk/>
            <pc:sldMk cId="1343131991" sldId="1213"/>
            <ac:spMk id="4" creationId="{3F64DA5D-1FEF-45CF-8F11-1E9BC92BD6CA}"/>
          </ac:spMkLst>
        </pc:spChg>
        <pc:spChg chg="mod">
          <ac:chgData name="Kellermann, Demian (CYS DEF OPS-DE)" userId="0961c1fd-f967-4660-b634-1c9ce6af0b19" providerId="ADAL" clId="{513664E0-C945-4B00-AC06-F205727D86B6}" dt="2023-10-05T13:51:41.576" v="11991" actId="20577"/>
          <ac:spMkLst>
            <pc:docMk/>
            <pc:sldMk cId="1343131991" sldId="1213"/>
            <ac:spMk id="6" creationId="{1C480184-B2EC-43ED-A10E-782E68EE1194}"/>
          </ac:spMkLst>
        </pc:spChg>
        <pc:spChg chg="mod">
          <ac:chgData name="Kellermann, Demian (CYS DEF OPS-DE)" userId="0961c1fd-f967-4660-b634-1c9ce6af0b19" providerId="ADAL" clId="{513664E0-C945-4B00-AC06-F205727D86B6}" dt="2023-09-28T11:54:02.751" v="954" actId="20577"/>
          <ac:spMkLst>
            <pc:docMk/>
            <pc:sldMk cId="1343131991" sldId="1213"/>
            <ac:spMk id="7" creationId="{5D5C8547-4A38-4BBE-8146-2BE4EE409A91}"/>
          </ac:spMkLst>
        </pc:sp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405580895" sldId="1213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2476248956" sldId="1214"/>
        </pc:sldMkLst>
      </pc:sldChg>
      <pc:sldChg chg="addSp delSp modSp add mod ord modAnim">
        <pc:chgData name="Kellermann, Demian (CYS DEF OPS-DE)" userId="0961c1fd-f967-4660-b634-1c9ce6af0b19" providerId="ADAL" clId="{513664E0-C945-4B00-AC06-F205727D86B6}" dt="2023-09-28T12:38:00.053" v="1626"/>
        <pc:sldMkLst>
          <pc:docMk/>
          <pc:sldMk cId="4121041434" sldId="1214"/>
        </pc:sldMkLst>
        <pc:spChg chg="mod">
          <ac:chgData name="Kellermann, Demian (CYS DEF OPS-DE)" userId="0961c1fd-f967-4660-b634-1c9ce6af0b19" providerId="ADAL" clId="{513664E0-C945-4B00-AC06-F205727D86B6}" dt="2023-09-28T12:31:19.102" v="1572"/>
          <ac:spMkLst>
            <pc:docMk/>
            <pc:sldMk cId="4121041434" sldId="1214"/>
            <ac:spMk id="2" creationId="{813C3CFC-9697-4716-A651-26E69FE6AB0F}"/>
          </ac:spMkLst>
        </pc:spChg>
        <pc:spChg chg="del">
          <ac:chgData name="Kellermann, Demian (CYS DEF OPS-DE)" userId="0961c1fd-f967-4660-b634-1c9ce6af0b19" providerId="ADAL" clId="{513664E0-C945-4B00-AC06-F205727D86B6}" dt="2023-09-28T12:20:18.350" v="1278" actId="478"/>
          <ac:spMkLst>
            <pc:docMk/>
            <pc:sldMk cId="4121041434" sldId="1214"/>
            <ac:spMk id="3" creationId="{F4DAD0C9-C8E6-49A1-8C40-DE4670D2D7FF}"/>
          </ac:spMkLst>
        </pc:spChg>
        <pc:spChg chg="mod">
          <ac:chgData name="Kellermann, Demian (CYS DEF OPS-DE)" userId="0961c1fd-f967-4660-b634-1c9ce6af0b19" providerId="ADAL" clId="{513664E0-C945-4B00-AC06-F205727D86B6}" dt="2023-09-28T12:38:00.053" v="1626"/>
          <ac:spMkLst>
            <pc:docMk/>
            <pc:sldMk cId="4121041434" sldId="1214"/>
            <ac:spMk id="4" creationId="{659537E0-7DD0-4DA0-A93A-15FBB24A8FF7}"/>
          </ac:spMkLst>
        </pc:spChg>
        <pc:spChg chg="del">
          <ac:chgData name="Kellermann, Demian (CYS DEF OPS-DE)" userId="0961c1fd-f967-4660-b634-1c9ce6af0b19" providerId="ADAL" clId="{513664E0-C945-4B00-AC06-F205727D86B6}" dt="2023-09-28T12:20:21.460" v="1280" actId="478"/>
          <ac:spMkLst>
            <pc:docMk/>
            <pc:sldMk cId="4121041434" sldId="1214"/>
            <ac:spMk id="5" creationId="{5138D0EF-5718-489A-8412-2D53BB776D48}"/>
          </ac:spMkLst>
        </pc:spChg>
        <pc:spChg chg="del">
          <ac:chgData name="Kellermann, Demian (CYS DEF OPS-DE)" userId="0961c1fd-f967-4660-b634-1c9ce6af0b19" providerId="ADAL" clId="{513664E0-C945-4B00-AC06-F205727D86B6}" dt="2023-09-28T12:20:23.974" v="1281" actId="478"/>
          <ac:spMkLst>
            <pc:docMk/>
            <pc:sldMk cId="4121041434" sldId="1214"/>
            <ac:spMk id="7" creationId="{D09905B2-8018-4963-AAB0-C2F0485931B5}"/>
          </ac:spMkLst>
        </pc:spChg>
        <pc:spChg chg="add del mod">
          <ac:chgData name="Kellermann, Demian (CYS DEF OPS-DE)" userId="0961c1fd-f967-4660-b634-1c9ce6af0b19" providerId="ADAL" clId="{513664E0-C945-4B00-AC06-F205727D86B6}" dt="2023-09-28T12:20:19.960" v="1279" actId="478"/>
          <ac:spMkLst>
            <pc:docMk/>
            <pc:sldMk cId="4121041434" sldId="1214"/>
            <ac:spMk id="9" creationId="{86575AF8-5A33-AD20-033A-FF83988059AB}"/>
          </ac:spMkLst>
        </pc:spChg>
        <pc:spChg chg="add del">
          <ac:chgData name="Kellermann, Demian (CYS DEF OPS-DE)" userId="0961c1fd-f967-4660-b634-1c9ce6af0b19" providerId="ADAL" clId="{513664E0-C945-4B00-AC06-F205727D86B6}" dt="2023-09-28T12:20:27.300" v="1283" actId="22"/>
          <ac:spMkLst>
            <pc:docMk/>
            <pc:sldMk cId="4121041434" sldId="1214"/>
            <ac:spMk id="11" creationId="{D39A1D04-4FF9-E7E2-DF7F-9E1BD1762E97}"/>
          </ac:spMkLst>
        </pc:spChg>
        <pc:spChg chg="add mod">
          <ac:chgData name="Kellermann, Demian (CYS DEF OPS-DE)" userId="0961c1fd-f967-4660-b634-1c9ce6af0b19" providerId="ADAL" clId="{513664E0-C945-4B00-AC06-F205727D86B6}" dt="2023-09-28T12:20:59.799" v="1327" actId="1036"/>
          <ac:spMkLst>
            <pc:docMk/>
            <pc:sldMk cId="4121041434" sldId="1214"/>
            <ac:spMk id="12" creationId="{C3EC7E9D-7288-1B09-9F47-E672AB7399BC}"/>
          </ac:spMkLst>
        </pc:spChg>
        <pc:spChg chg="add mod">
          <ac:chgData name="Kellermann, Demian (CYS DEF OPS-DE)" userId="0961c1fd-f967-4660-b634-1c9ce6af0b19" providerId="ADAL" clId="{513664E0-C945-4B00-AC06-F205727D86B6}" dt="2023-09-28T12:20:59.799" v="1327" actId="1036"/>
          <ac:spMkLst>
            <pc:docMk/>
            <pc:sldMk cId="4121041434" sldId="1214"/>
            <ac:spMk id="13" creationId="{DC55ED3A-B07C-C535-2D70-BD7CBCFA8F24}"/>
          </ac:spMkLst>
        </pc:spChg>
        <pc:spChg chg="add mod">
          <ac:chgData name="Kellermann, Demian (CYS DEF OPS-DE)" userId="0961c1fd-f967-4660-b634-1c9ce6af0b19" providerId="ADAL" clId="{513664E0-C945-4B00-AC06-F205727D86B6}" dt="2023-09-28T12:20:59.799" v="1327" actId="1036"/>
          <ac:spMkLst>
            <pc:docMk/>
            <pc:sldMk cId="4121041434" sldId="1214"/>
            <ac:spMk id="14" creationId="{378FB84D-64F2-01AE-4188-5E67DEB80DF0}"/>
          </ac:spMkLst>
        </pc:spChg>
        <pc:spChg chg="add mod">
          <ac:chgData name="Kellermann, Demian (CYS DEF OPS-DE)" userId="0961c1fd-f967-4660-b634-1c9ce6af0b19" providerId="ADAL" clId="{513664E0-C945-4B00-AC06-F205727D86B6}" dt="2023-09-28T12:20:59.799" v="1327" actId="1036"/>
          <ac:spMkLst>
            <pc:docMk/>
            <pc:sldMk cId="4121041434" sldId="1214"/>
            <ac:spMk id="15" creationId="{8C045B69-3C95-E203-D896-E94CA95B9A96}"/>
          </ac:spMkLst>
        </pc:spChg>
        <pc:spChg chg="add mod">
          <ac:chgData name="Kellermann, Demian (CYS DEF OPS-DE)" userId="0961c1fd-f967-4660-b634-1c9ce6af0b19" providerId="ADAL" clId="{513664E0-C945-4B00-AC06-F205727D86B6}" dt="2023-09-28T12:20:59.799" v="1327" actId="1036"/>
          <ac:spMkLst>
            <pc:docMk/>
            <pc:sldMk cId="4121041434" sldId="1214"/>
            <ac:spMk id="16" creationId="{E1D37598-5A0B-BF50-959D-74E16CD181E0}"/>
          </ac:spMkLst>
        </pc:spChg>
        <pc:spChg chg="add mod">
          <ac:chgData name="Kellermann, Demian (CYS DEF OPS-DE)" userId="0961c1fd-f967-4660-b634-1c9ce6af0b19" providerId="ADAL" clId="{513664E0-C945-4B00-AC06-F205727D86B6}" dt="2023-09-28T12:20:59.799" v="1327" actId="1036"/>
          <ac:spMkLst>
            <pc:docMk/>
            <pc:sldMk cId="4121041434" sldId="1214"/>
            <ac:spMk id="17" creationId="{67D5D3CD-9F55-082D-24C6-B4407C5A493A}"/>
          </ac:spMkLst>
        </pc:spChg>
        <pc:spChg chg="add mod">
          <ac:chgData name="Kellermann, Demian (CYS DEF OPS-DE)" userId="0961c1fd-f967-4660-b634-1c9ce6af0b19" providerId="ADAL" clId="{513664E0-C945-4B00-AC06-F205727D86B6}" dt="2023-09-28T12:20:59.799" v="1327" actId="1036"/>
          <ac:spMkLst>
            <pc:docMk/>
            <pc:sldMk cId="4121041434" sldId="1214"/>
            <ac:spMk id="18" creationId="{CD6F6D28-821D-18A3-145E-239FCB010A6A}"/>
          </ac:spMkLst>
        </pc:spChg>
        <pc:spChg chg="add mod">
          <ac:chgData name="Kellermann, Demian (CYS DEF OPS-DE)" userId="0961c1fd-f967-4660-b634-1c9ce6af0b19" providerId="ADAL" clId="{513664E0-C945-4B00-AC06-F205727D86B6}" dt="2023-09-28T12:20:59.799" v="1327" actId="1036"/>
          <ac:spMkLst>
            <pc:docMk/>
            <pc:sldMk cId="4121041434" sldId="1214"/>
            <ac:spMk id="19" creationId="{B8766D26-98C8-E96B-7B81-BBCCE83D3366}"/>
          </ac:spMkLst>
        </pc:spChg>
        <pc:spChg chg="add mod">
          <ac:chgData name="Kellermann, Demian (CYS DEF OPS-DE)" userId="0961c1fd-f967-4660-b634-1c9ce6af0b19" providerId="ADAL" clId="{513664E0-C945-4B00-AC06-F205727D86B6}" dt="2023-09-28T12:20:59.799" v="1327" actId="1036"/>
          <ac:spMkLst>
            <pc:docMk/>
            <pc:sldMk cId="4121041434" sldId="1214"/>
            <ac:spMk id="20" creationId="{7A73C62A-8785-4C1B-2DC2-2BA03E98D3A1}"/>
          </ac:spMkLst>
        </pc:spChg>
        <pc:spChg chg="mod topLvl">
          <ac:chgData name="Kellermann, Demian (CYS DEF OPS-DE)" userId="0961c1fd-f967-4660-b634-1c9ce6af0b19" providerId="ADAL" clId="{513664E0-C945-4B00-AC06-F205727D86B6}" dt="2023-09-28T12:23:58.208" v="1351" actId="165"/>
          <ac:spMkLst>
            <pc:docMk/>
            <pc:sldMk cId="4121041434" sldId="1214"/>
            <ac:spMk id="22" creationId="{2F090835-6CFE-4157-BD65-CAC779759B2B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28" creationId="{43F48BDB-84B9-183F-6499-04372BA572C0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29" creationId="{FF68045E-F39A-98AE-782B-10D0F245EF05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30" creationId="{D0ABF74D-8152-077F-0109-98278D4E3F8B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31" creationId="{E82D684B-6622-5EB2-4864-698D363FB615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32" creationId="{5C152A55-0004-9198-E4B7-3DA6C4BD2A77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34" creationId="{0131E30F-BB23-4D74-9ADC-53D1EA2D7C28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35" creationId="{9A4F6E3C-ED79-2B64-F708-99C155B1AD42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36" creationId="{B4E475E1-04BA-D99A-40BA-D0A524AFFDAA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37" creationId="{4C716908-D031-4317-8452-9D1EA153FDAF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38" creationId="{D49B8714-635A-F156-7F7B-5111ADEFACA8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39" creationId="{0AD66749-9DB9-FDA1-1036-7F423F7A7C30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40" creationId="{01039E61-9C46-23AA-720E-73DEBB9DA890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41" creationId="{BDBE9E64-08D4-6F0F-3B64-779C12404D19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42" creationId="{6D96F942-6166-F441-7F28-06CBB013B4F9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43" creationId="{042CFD5B-FB08-8D43-B1C1-70036CE5E2D7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44" creationId="{279F6BAA-BFDE-B1D6-2279-C14CAFBCE949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45" creationId="{FABAEA24-F388-EE4B-5D47-09DC8481BE40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46" creationId="{5682DDA2-DFA7-9CBA-FC54-144F01707163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47" creationId="{043540C1-E484-5DE0-1A44-92B4FFE8A798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48" creationId="{C8FCCA20-09A5-3DD7-1389-E5436498ABCC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49" creationId="{5FCB5E81-056A-1DBC-DD4B-1869B400BD03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51" creationId="{5863C485-E355-87C3-C313-B8141A285050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52" creationId="{FC02BDC5-9626-86C0-CEF6-4ED4ECAC1755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53" creationId="{544CA6C8-8407-CC4E-FC02-68FD1D818AB7}"/>
          </ac:spMkLst>
        </pc:spChg>
        <pc:spChg chg="mod topLvl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55" creationId="{0014BAB4-DF65-2768-6C65-490B5FF1D1DE}"/>
          </ac:spMkLst>
        </pc:spChg>
        <pc:spChg chg="del mod topLvl">
          <ac:chgData name="Kellermann, Demian (CYS DEF OPS-DE)" userId="0961c1fd-f967-4660-b634-1c9ce6af0b19" providerId="ADAL" clId="{513664E0-C945-4B00-AC06-F205727D86B6}" dt="2023-09-28T12:25:49.678" v="1527" actId="478"/>
          <ac:spMkLst>
            <pc:docMk/>
            <pc:sldMk cId="4121041434" sldId="1214"/>
            <ac:spMk id="61" creationId="{F4168048-D867-DECE-FCD0-6D4B84913780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63" creationId="{1AFE7213-3960-F278-F66A-4B852CFD6E3F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67" creationId="{46099676-246C-CBAF-37A2-F5E561E75D19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68" creationId="{27F76627-2EEA-9B5E-8769-DD3678C813DE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69" creationId="{391F1AFC-C8AF-71DD-5BA3-C4C2A4DF9831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72" creationId="{D016A3CD-859C-F144-E9CD-5AEDDDB4AC47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73" creationId="{9B167810-C15F-CACB-E7C9-92AAB7ED6B6B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74" creationId="{1C391A39-783B-C376-2F9A-25AC22CCBF0C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75" creationId="{43AF5754-A469-9802-F79B-D2F7FA20B5CA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76" creationId="{912B4B64-7CA3-2C64-AEA1-DE4E0E2AB9CF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82" creationId="{56DCD3BD-37AA-28A7-16EE-E17D5F032B09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83" creationId="{12CF38F2-7ED9-7C7A-C035-C0DDCEEB7983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84" creationId="{E9FD7C6C-2278-52AA-6809-6BD9013752FC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85" creationId="{4BCDC66A-9187-8777-B815-9F8CCA9D9D3B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86" creationId="{791AA6FB-F08A-0CD6-CBE9-C1262379A432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87" creationId="{92AFE9B5-0A1D-58B9-8FEC-FD2BC66A3EB2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88" creationId="{2D3DD59B-FE49-CE9B-9381-C68BE66ACFCE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89" creationId="{73E60C14-928D-1E16-5B62-FD0BC674CC14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90" creationId="{B7A6E1E8-5C87-7C7D-DFAF-98C0CC954475}"/>
          </ac:spMkLst>
        </pc:spChg>
        <pc:spChg chg="mod">
          <ac:chgData name="Kellermann, Demian (CYS DEF OPS-DE)" userId="0961c1fd-f967-4660-b634-1c9ce6af0b19" providerId="ADAL" clId="{513664E0-C945-4B00-AC06-F205727D86B6}" dt="2023-09-28T12:25:46.128" v="1526" actId="165"/>
          <ac:spMkLst>
            <pc:docMk/>
            <pc:sldMk cId="4121041434" sldId="1214"/>
            <ac:spMk id="91" creationId="{6F374E6C-B594-A3F4-C9E6-0F6A4E1CE757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93" creationId="{C3EFBDE4-AC92-01D6-EEDC-14AD0285A15E}"/>
          </ac:spMkLst>
        </pc:spChg>
        <pc:spChg chg="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94" creationId="{8E9F9D29-3CD1-C081-BE1B-ABBA88750081}"/>
          </ac:spMkLst>
        </pc:spChg>
        <pc:spChg chg="add mod">
          <ac:chgData name="Kellermann, Demian (CYS DEF OPS-DE)" userId="0961c1fd-f967-4660-b634-1c9ce6af0b19" providerId="ADAL" clId="{513664E0-C945-4B00-AC06-F205727D86B6}" dt="2023-09-28T12:36:55.252" v="1625" actId="408"/>
          <ac:spMkLst>
            <pc:docMk/>
            <pc:sldMk cId="4121041434" sldId="1214"/>
            <ac:spMk id="95" creationId="{8BDD1DDD-572E-47B5-21E4-419DE61D075A}"/>
          </ac:spMkLst>
        </pc:spChg>
        <pc:spChg chg="mod">
          <ac:chgData name="Kellermann, Demian (CYS DEF OPS-DE)" userId="0961c1fd-f967-4660-b634-1c9ce6af0b19" providerId="ADAL" clId="{513664E0-C945-4B00-AC06-F205727D86B6}" dt="2023-09-28T12:34:30.150" v="1576" actId="27803"/>
          <ac:spMkLst>
            <pc:docMk/>
            <pc:sldMk cId="4121041434" sldId="1214"/>
            <ac:spMk id="100" creationId="{B6625664-15D2-A135-55F3-86BEBBDC0DDA}"/>
          </ac:spMkLst>
        </pc:spChg>
        <pc:spChg chg="mod">
          <ac:chgData name="Kellermann, Demian (CYS DEF OPS-DE)" userId="0961c1fd-f967-4660-b634-1c9ce6af0b19" providerId="ADAL" clId="{513664E0-C945-4B00-AC06-F205727D86B6}" dt="2023-09-28T12:34:30.150" v="1576" actId="27803"/>
          <ac:spMkLst>
            <pc:docMk/>
            <pc:sldMk cId="4121041434" sldId="1214"/>
            <ac:spMk id="101" creationId="{E364E2AB-A6EF-0692-E1F5-BF85EA360820}"/>
          </ac:spMkLst>
        </pc:spChg>
        <pc:spChg chg="mod">
          <ac:chgData name="Kellermann, Demian (CYS DEF OPS-DE)" userId="0961c1fd-f967-4660-b634-1c9ce6af0b19" providerId="ADAL" clId="{513664E0-C945-4B00-AC06-F205727D86B6}" dt="2023-09-28T12:34:30.150" v="1576" actId="27803"/>
          <ac:spMkLst>
            <pc:docMk/>
            <pc:sldMk cId="4121041434" sldId="1214"/>
            <ac:spMk id="102" creationId="{36E81FA0-2BBC-975F-132F-224DD01A3140}"/>
          </ac:spMkLst>
        </pc:spChg>
        <pc:spChg chg="mod">
          <ac:chgData name="Kellermann, Demian (CYS DEF OPS-DE)" userId="0961c1fd-f967-4660-b634-1c9ce6af0b19" providerId="ADAL" clId="{513664E0-C945-4B00-AC06-F205727D86B6}" dt="2023-09-28T12:34:30.150" v="1576" actId="27803"/>
          <ac:spMkLst>
            <pc:docMk/>
            <pc:sldMk cId="4121041434" sldId="1214"/>
            <ac:spMk id="103" creationId="{D35B0E25-3BCD-3340-B291-679216C58ADB}"/>
          </ac:spMkLst>
        </pc:spChg>
        <pc:spChg chg="mod">
          <ac:chgData name="Kellermann, Demian (CYS DEF OPS-DE)" userId="0961c1fd-f967-4660-b634-1c9ce6af0b19" providerId="ADAL" clId="{513664E0-C945-4B00-AC06-F205727D86B6}" dt="2023-09-28T12:34:30.150" v="1576" actId="27803"/>
          <ac:spMkLst>
            <pc:docMk/>
            <pc:sldMk cId="4121041434" sldId="1214"/>
            <ac:spMk id="104" creationId="{8C428EF8-9028-5E19-BDDF-7231A8B46583}"/>
          </ac:spMkLst>
        </pc:spChg>
        <pc:spChg chg="mod">
          <ac:chgData name="Kellermann, Demian (CYS DEF OPS-DE)" userId="0961c1fd-f967-4660-b634-1c9ce6af0b19" providerId="ADAL" clId="{513664E0-C945-4B00-AC06-F205727D86B6}" dt="2023-09-28T12:34:30.150" v="1576" actId="27803"/>
          <ac:spMkLst>
            <pc:docMk/>
            <pc:sldMk cId="4121041434" sldId="1214"/>
            <ac:spMk id="105" creationId="{4409D807-DBD7-66C2-E5C7-F429DF0B3FFF}"/>
          </ac:spMkLst>
        </pc:spChg>
        <pc:grpChg chg="add del mod">
          <ac:chgData name="Kellermann, Demian (CYS DEF OPS-DE)" userId="0961c1fd-f967-4660-b634-1c9ce6af0b19" providerId="ADAL" clId="{513664E0-C945-4B00-AC06-F205727D86B6}" dt="2023-09-28T12:23:58.208" v="1351" actId="165"/>
          <ac:grpSpMkLst>
            <pc:docMk/>
            <pc:sldMk cId="4121041434" sldId="1214"/>
            <ac:grpSpMk id="21" creationId="{2BD047BC-00F4-A8E1-BD3E-30B34A871AC4}"/>
          </ac:grpSpMkLst>
        </pc:grpChg>
        <pc:grpChg chg="mod topLvl">
          <ac:chgData name="Kellermann, Demian (CYS DEF OPS-DE)" userId="0961c1fd-f967-4660-b634-1c9ce6af0b19" providerId="ADAL" clId="{513664E0-C945-4B00-AC06-F205727D86B6}" dt="2023-09-28T12:36:55.252" v="1625" actId="408"/>
          <ac:grpSpMkLst>
            <pc:docMk/>
            <pc:sldMk cId="4121041434" sldId="1214"/>
            <ac:grpSpMk id="23" creationId="{BA04B308-2EB3-1D2D-97DF-2F909DC3D465}"/>
          </ac:grpSpMkLst>
        </pc:grpChg>
        <pc:grpChg chg="mod topLvl">
          <ac:chgData name="Kellermann, Demian (CYS DEF OPS-DE)" userId="0961c1fd-f967-4660-b634-1c9ce6af0b19" providerId="ADAL" clId="{513664E0-C945-4B00-AC06-F205727D86B6}" dt="2023-09-28T12:36:55.252" v="1625" actId="408"/>
          <ac:grpSpMkLst>
            <pc:docMk/>
            <pc:sldMk cId="4121041434" sldId="1214"/>
            <ac:grpSpMk id="24" creationId="{2613E234-692F-2CB9-8B8D-A397139D2375}"/>
          </ac:grpSpMkLst>
        </pc:grpChg>
        <pc:grpChg chg="mod topLvl">
          <ac:chgData name="Kellermann, Demian (CYS DEF OPS-DE)" userId="0961c1fd-f967-4660-b634-1c9ce6af0b19" providerId="ADAL" clId="{513664E0-C945-4B00-AC06-F205727D86B6}" dt="2023-09-28T12:36:55.252" v="1625" actId="408"/>
          <ac:grpSpMkLst>
            <pc:docMk/>
            <pc:sldMk cId="4121041434" sldId="1214"/>
            <ac:grpSpMk id="25" creationId="{8A44532F-6434-5176-C2F2-52FB3D8EB280}"/>
          </ac:grpSpMkLst>
        </pc:grpChg>
        <pc:grpChg chg="mod topLvl">
          <ac:chgData name="Kellermann, Demian (CYS DEF OPS-DE)" userId="0961c1fd-f967-4660-b634-1c9ce6af0b19" providerId="ADAL" clId="{513664E0-C945-4B00-AC06-F205727D86B6}" dt="2023-09-28T12:36:55.252" v="1625" actId="408"/>
          <ac:grpSpMkLst>
            <pc:docMk/>
            <pc:sldMk cId="4121041434" sldId="1214"/>
            <ac:grpSpMk id="26" creationId="{F56D63A0-100E-84C2-B05E-172FAC66DCCE}"/>
          </ac:grpSpMkLst>
        </pc:grpChg>
        <pc:grpChg chg="mod topLvl">
          <ac:chgData name="Kellermann, Demian (CYS DEF OPS-DE)" userId="0961c1fd-f967-4660-b634-1c9ce6af0b19" providerId="ADAL" clId="{513664E0-C945-4B00-AC06-F205727D86B6}" dt="2023-09-28T12:36:55.252" v="1625" actId="408"/>
          <ac:grpSpMkLst>
            <pc:docMk/>
            <pc:sldMk cId="4121041434" sldId="1214"/>
            <ac:grpSpMk id="27" creationId="{14709721-951C-0AD6-DA97-A61B367E1109}"/>
          </ac:grpSpMkLst>
        </pc:grpChg>
        <pc:grpChg chg="mod">
          <ac:chgData name="Kellermann, Demian (CYS DEF OPS-DE)" userId="0961c1fd-f967-4660-b634-1c9ce6af0b19" providerId="ADAL" clId="{513664E0-C945-4B00-AC06-F205727D86B6}" dt="2023-09-28T12:36:55.252" v="1625" actId="408"/>
          <ac:grpSpMkLst>
            <pc:docMk/>
            <pc:sldMk cId="4121041434" sldId="1214"/>
            <ac:grpSpMk id="33" creationId="{6DBFDB0B-AB15-6D06-1004-6BDB0D6BE257}"/>
          </ac:grpSpMkLst>
        </pc:grpChg>
        <pc:grpChg chg="mod">
          <ac:chgData name="Kellermann, Demian (CYS DEF OPS-DE)" userId="0961c1fd-f967-4660-b634-1c9ce6af0b19" providerId="ADAL" clId="{513664E0-C945-4B00-AC06-F205727D86B6}" dt="2023-09-28T12:36:55.252" v="1625" actId="408"/>
          <ac:grpSpMkLst>
            <pc:docMk/>
            <pc:sldMk cId="4121041434" sldId="1214"/>
            <ac:grpSpMk id="50" creationId="{0170E611-CD16-9194-648A-F77A77BAE388}"/>
          </ac:grpSpMkLst>
        </pc:grpChg>
        <pc:grpChg chg="add del mod">
          <ac:chgData name="Kellermann, Demian (CYS DEF OPS-DE)" userId="0961c1fd-f967-4660-b634-1c9ce6af0b19" providerId="ADAL" clId="{513664E0-C945-4B00-AC06-F205727D86B6}" dt="2023-09-28T12:25:46.128" v="1526" actId="165"/>
          <ac:grpSpMkLst>
            <pc:docMk/>
            <pc:sldMk cId="4121041434" sldId="1214"/>
            <ac:grpSpMk id="54" creationId="{7BF50F5D-7309-2BC0-F119-D16FD7D17DC6}"/>
          </ac:grpSpMkLst>
        </pc:grpChg>
        <pc:grpChg chg="mod topLvl">
          <ac:chgData name="Kellermann, Demian (CYS DEF OPS-DE)" userId="0961c1fd-f967-4660-b634-1c9ce6af0b19" providerId="ADAL" clId="{513664E0-C945-4B00-AC06-F205727D86B6}" dt="2023-09-28T12:26:22.790" v="1564" actId="164"/>
          <ac:grpSpMkLst>
            <pc:docMk/>
            <pc:sldMk cId="4121041434" sldId="1214"/>
            <ac:grpSpMk id="56" creationId="{5D54106D-3012-14BC-0B5C-E30A9D34FACC}"/>
          </ac:grpSpMkLst>
        </pc:grpChg>
        <pc:grpChg chg="mod topLvl">
          <ac:chgData name="Kellermann, Demian (CYS DEF OPS-DE)" userId="0961c1fd-f967-4660-b634-1c9ce6af0b19" providerId="ADAL" clId="{513664E0-C945-4B00-AC06-F205727D86B6}" dt="2023-09-28T12:26:22.790" v="1564" actId="164"/>
          <ac:grpSpMkLst>
            <pc:docMk/>
            <pc:sldMk cId="4121041434" sldId="1214"/>
            <ac:grpSpMk id="57" creationId="{AD4E82AD-AA60-4196-7C92-4DF9CFA10D2C}"/>
          </ac:grpSpMkLst>
        </pc:grpChg>
        <pc:grpChg chg="del mod topLvl">
          <ac:chgData name="Kellermann, Demian (CYS DEF OPS-DE)" userId="0961c1fd-f967-4660-b634-1c9ce6af0b19" providerId="ADAL" clId="{513664E0-C945-4B00-AC06-F205727D86B6}" dt="2023-09-28T12:25:52.489" v="1530" actId="478"/>
          <ac:grpSpMkLst>
            <pc:docMk/>
            <pc:sldMk cId="4121041434" sldId="1214"/>
            <ac:grpSpMk id="59" creationId="{85231883-F340-A4A9-17D8-07397B953412}"/>
          </ac:grpSpMkLst>
        </pc:grpChg>
        <pc:grpChg chg="del mod topLvl">
          <ac:chgData name="Kellermann, Demian (CYS DEF OPS-DE)" userId="0961c1fd-f967-4660-b634-1c9ce6af0b19" providerId="ADAL" clId="{513664E0-C945-4B00-AC06-F205727D86B6}" dt="2023-09-28T12:25:50.653" v="1528" actId="478"/>
          <ac:grpSpMkLst>
            <pc:docMk/>
            <pc:sldMk cId="4121041434" sldId="1214"/>
            <ac:grpSpMk id="62" creationId="{2EC2C4FD-F197-C775-9C74-561890375F88}"/>
          </ac:grpSpMkLst>
        </pc:grpChg>
        <pc:grpChg chg="mod">
          <ac:chgData name="Kellermann, Demian (CYS DEF OPS-DE)" userId="0961c1fd-f967-4660-b634-1c9ce6af0b19" providerId="ADAL" clId="{513664E0-C945-4B00-AC06-F205727D86B6}" dt="2023-09-28T12:25:46.128" v="1526" actId="165"/>
          <ac:grpSpMkLst>
            <pc:docMk/>
            <pc:sldMk cId="4121041434" sldId="1214"/>
            <ac:grpSpMk id="64" creationId="{774EAA8F-EA17-7E58-71FC-12E6FF02A633}"/>
          </ac:grpSpMkLst>
        </pc:grpChg>
        <pc:grpChg chg="mod">
          <ac:chgData name="Kellermann, Demian (CYS DEF OPS-DE)" userId="0961c1fd-f967-4660-b634-1c9ce6af0b19" providerId="ADAL" clId="{513664E0-C945-4B00-AC06-F205727D86B6}" dt="2023-09-28T12:25:46.128" v="1526" actId="165"/>
          <ac:grpSpMkLst>
            <pc:docMk/>
            <pc:sldMk cId="4121041434" sldId="1214"/>
            <ac:grpSpMk id="70" creationId="{A98D4339-EB16-5F1A-C731-41BEFBE7CA61}"/>
          </ac:grpSpMkLst>
        </pc:grpChg>
        <pc:grpChg chg="mod">
          <ac:chgData name="Kellermann, Demian (CYS DEF OPS-DE)" userId="0961c1fd-f967-4660-b634-1c9ce6af0b19" providerId="ADAL" clId="{513664E0-C945-4B00-AC06-F205727D86B6}" dt="2023-09-28T12:25:46.128" v="1526" actId="165"/>
          <ac:grpSpMkLst>
            <pc:docMk/>
            <pc:sldMk cId="4121041434" sldId="1214"/>
            <ac:grpSpMk id="71" creationId="{08913684-E123-C555-1B16-48707457ABBB}"/>
          </ac:grpSpMkLst>
        </pc:grpChg>
        <pc:grpChg chg="mod">
          <ac:chgData name="Kellermann, Demian (CYS DEF OPS-DE)" userId="0961c1fd-f967-4660-b634-1c9ce6af0b19" providerId="ADAL" clId="{513664E0-C945-4B00-AC06-F205727D86B6}" dt="2023-09-28T12:25:46.128" v="1526" actId="165"/>
          <ac:grpSpMkLst>
            <pc:docMk/>
            <pc:sldMk cId="4121041434" sldId="1214"/>
            <ac:grpSpMk id="77" creationId="{CB38DD73-A8A7-2D54-8C81-546652E80C2E}"/>
          </ac:grpSpMkLst>
        </pc:grpChg>
        <pc:grpChg chg="mod">
          <ac:chgData name="Kellermann, Demian (CYS DEF OPS-DE)" userId="0961c1fd-f967-4660-b634-1c9ce6af0b19" providerId="ADAL" clId="{513664E0-C945-4B00-AC06-F205727D86B6}" dt="2023-09-28T12:25:46.128" v="1526" actId="165"/>
          <ac:grpSpMkLst>
            <pc:docMk/>
            <pc:sldMk cId="4121041434" sldId="1214"/>
            <ac:grpSpMk id="78" creationId="{883AE364-C2F5-5EAB-5DAB-D1DFF00DC3BA}"/>
          </ac:grpSpMkLst>
        </pc:grpChg>
        <pc:grpChg chg="mod">
          <ac:chgData name="Kellermann, Demian (CYS DEF OPS-DE)" userId="0961c1fd-f967-4660-b634-1c9ce6af0b19" providerId="ADAL" clId="{513664E0-C945-4B00-AC06-F205727D86B6}" dt="2023-09-28T12:25:46.128" v="1526" actId="165"/>
          <ac:grpSpMkLst>
            <pc:docMk/>
            <pc:sldMk cId="4121041434" sldId="1214"/>
            <ac:grpSpMk id="79" creationId="{972F6E1F-520C-05B4-111F-0412CE3E079B}"/>
          </ac:grpSpMkLst>
        </pc:grpChg>
        <pc:grpChg chg="mod">
          <ac:chgData name="Kellermann, Demian (CYS DEF OPS-DE)" userId="0961c1fd-f967-4660-b634-1c9ce6af0b19" providerId="ADAL" clId="{513664E0-C945-4B00-AC06-F205727D86B6}" dt="2023-09-28T12:25:46.128" v="1526" actId="165"/>
          <ac:grpSpMkLst>
            <pc:docMk/>
            <pc:sldMk cId="4121041434" sldId="1214"/>
            <ac:grpSpMk id="80" creationId="{D06C1274-8A31-05C5-86ED-33C4433F6F83}"/>
          </ac:grpSpMkLst>
        </pc:grpChg>
        <pc:grpChg chg="mod">
          <ac:chgData name="Kellermann, Demian (CYS DEF OPS-DE)" userId="0961c1fd-f967-4660-b634-1c9ce6af0b19" providerId="ADAL" clId="{513664E0-C945-4B00-AC06-F205727D86B6}" dt="2023-09-28T12:25:46.128" v="1526" actId="165"/>
          <ac:grpSpMkLst>
            <pc:docMk/>
            <pc:sldMk cId="4121041434" sldId="1214"/>
            <ac:grpSpMk id="81" creationId="{F569A602-1564-4A94-D9AD-83A3045797A3}"/>
          </ac:grpSpMkLst>
        </pc:grpChg>
        <pc:grpChg chg="add mod">
          <ac:chgData name="Kellermann, Demian (CYS DEF OPS-DE)" userId="0961c1fd-f967-4660-b634-1c9ce6af0b19" providerId="ADAL" clId="{513664E0-C945-4B00-AC06-F205727D86B6}" dt="2023-09-28T12:36:55.252" v="1625" actId="408"/>
          <ac:grpSpMkLst>
            <pc:docMk/>
            <pc:sldMk cId="4121041434" sldId="1214"/>
            <ac:grpSpMk id="92" creationId="{598B42F7-D15C-7A44-DC3C-AA9496B80F12}"/>
          </ac:grpSpMkLst>
        </pc:grpChg>
        <pc:grpChg chg="add mod">
          <ac:chgData name="Kellermann, Demian (CYS DEF OPS-DE)" userId="0961c1fd-f967-4660-b634-1c9ce6af0b19" providerId="ADAL" clId="{513664E0-C945-4B00-AC06-F205727D86B6}" dt="2023-09-28T12:26:44.899" v="1565" actId="408"/>
          <ac:grpSpMkLst>
            <pc:docMk/>
            <pc:sldMk cId="4121041434" sldId="1214"/>
            <ac:grpSpMk id="96" creationId="{1DD8FAF3-D1D0-10DC-223E-C404A44FAF21}"/>
          </ac:grpSpMkLst>
        </pc:grpChg>
        <pc:grpChg chg="add del mod">
          <ac:chgData name="Kellermann, Demian (CYS DEF OPS-DE)" userId="0961c1fd-f967-4660-b634-1c9ce6af0b19" providerId="ADAL" clId="{513664E0-C945-4B00-AC06-F205727D86B6}" dt="2023-09-28T12:34:30.150" v="1576" actId="27803"/>
          <ac:grpSpMkLst>
            <pc:docMk/>
            <pc:sldMk cId="4121041434" sldId="1214"/>
            <ac:grpSpMk id="99" creationId="{68A490BB-58CD-6521-B514-C17321CF015B}"/>
          </ac:grpSpMkLst>
        </pc:grpChg>
        <pc:grpChg chg="add mod">
          <ac:chgData name="Kellermann, Demian (CYS DEF OPS-DE)" userId="0961c1fd-f967-4660-b634-1c9ce6af0b19" providerId="ADAL" clId="{513664E0-C945-4B00-AC06-F205727D86B6}" dt="2023-09-28T12:36:55.252" v="1625" actId="408"/>
          <ac:grpSpMkLst>
            <pc:docMk/>
            <pc:sldMk cId="4121041434" sldId="1214"/>
            <ac:grpSpMk id="106" creationId="{C6307792-76EB-9823-97E5-9219F3C08508}"/>
          </ac:grpSpMkLst>
        </pc:grpChg>
        <pc:picChg chg="add del mod">
          <ac:chgData name="Kellermann, Demian (CYS DEF OPS-DE)" userId="0961c1fd-f967-4660-b634-1c9ce6af0b19" providerId="ADAL" clId="{513664E0-C945-4B00-AC06-F205727D86B6}" dt="2023-09-28T12:36:55.252" v="1625" actId="408"/>
          <ac:picMkLst>
            <pc:docMk/>
            <pc:sldMk cId="4121041434" sldId="1214"/>
            <ac:picMk id="98" creationId="{D774A3DD-968D-F0AD-3F04-7301207FECD3}"/>
          </ac:picMkLst>
        </pc:picChg>
        <pc:cxnChg chg="mod topLvl">
          <ac:chgData name="Kellermann, Demian (CYS DEF OPS-DE)" userId="0961c1fd-f967-4660-b634-1c9ce6af0b19" providerId="ADAL" clId="{513664E0-C945-4B00-AC06-F205727D86B6}" dt="2023-09-28T12:26:22.790" v="1564" actId="164"/>
          <ac:cxnSpMkLst>
            <pc:docMk/>
            <pc:sldMk cId="4121041434" sldId="1214"/>
            <ac:cxnSpMk id="58" creationId="{9717BE21-3B3B-3F40-59E7-BEEDBE17FCB9}"/>
          </ac:cxnSpMkLst>
        </pc:cxnChg>
        <pc:cxnChg chg="del mod topLvl">
          <ac:chgData name="Kellermann, Demian (CYS DEF OPS-DE)" userId="0961c1fd-f967-4660-b634-1c9ce6af0b19" providerId="ADAL" clId="{513664E0-C945-4B00-AC06-F205727D86B6}" dt="2023-09-28T12:25:51.604" v="1529" actId="478"/>
          <ac:cxnSpMkLst>
            <pc:docMk/>
            <pc:sldMk cId="4121041434" sldId="1214"/>
            <ac:cxnSpMk id="60" creationId="{38449701-AAD8-5F3F-435D-7C6F7C5811F4}"/>
          </ac:cxnSpMkLst>
        </pc:cxnChg>
        <pc:cxnChg chg="mod">
          <ac:chgData name="Kellermann, Demian (CYS DEF OPS-DE)" userId="0961c1fd-f967-4660-b634-1c9ce6af0b19" providerId="ADAL" clId="{513664E0-C945-4B00-AC06-F205727D86B6}" dt="2023-09-28T12:25:46.128" v="1526" actId="165"/>
          <ac:cxnSpMkLst>
            <pc:docMk/>
            <pc:sldMk cId="4121041434" sldId="1214"/>
            <ac:cxnSpMk id="65" creationId="{8A1CF08A-40B4-BFF2-7D9E-C599A4224D86}"/>
          </ac:cxnSpMkLst>
        </pc:cxnChg>
        <pc:cxnChg chg="mod">
          <ac:chgData name="Kellermann, Demian (CYS DEF OPS-DE)" userId="0961c1fd-f967-4660-b634-1c9ce6af0b19" providerId="ADAL" clId="{513664E0-C945-4B00-AC06-F205727D86B6}" dt="2023-09-28T12:25:46.128" v="1526" actId="165"/>
          <ac:cxnSpMkLst>
            <pc:docMk/>
            <pc:sldMk cId="4121041434" sldId="1214"/>
            <ac:cxnSpMk id="66" creationId="{130C7B3E-5D54-5FB5-2330-5564FF794CCC}"/>
          </ac:cxnSpMkLst>
        </pc:cxn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645072052" sldId="1215"/>
        </pc:sldMkLst>
      </pc:sldChg>
      <pc:sldChg chg="addSp delSp modSp add mod">
        <pc:chgData name="Kellermann, Demian (CYS DEF OPS-DE)" userId="0961c1fd-f967-4660-b634-1c9ce6af0b19" providerId="ADAL" clId="{513664E0-C945-4B00-AC06-F205727D86B6}" dt="2023-09-28T13:05:47.872" v="1760" actId="207"/>
        <pc:sldMkLst>
          <pc:docMk/>
          <pc:sldMk cId="1479783248" sldId="1215"/>
        </pc:sldMkLst>
        <pc:spChg chg="mod">
          <ac:chgData name="Kellermann, Demian (CYS DEF OPS-DE)" userId="0961c1fd-f967-4660-b634-1c9ce6af0b19" providerId="ADAL" clId="{513664E0-C945-4B00-AC06-F205727D86B6}" dt="2023-09-28T12:43:47.016" v="1640" actId="20577"/>
          <ac:spMkLst>
            <pc:docMk/>
            <pc:sldMk cId="1479783248" sldId="1215"/>
            <ac:spMk id="2" creationId="{813C3CFC-9697-4716-A651-26E69FE6AB0F}"/>
          </ac:spMkLst>
        </pc:spChg>
        <pc:spChg chg="add del">
          <ac:chgData name="Kellermann, Demian (CYS DEF OPS-DE)" userId="0961c1fd-f967-4660-b634-1c9ce6af0b19" providerId="ADAL" clId="{513664E0-C945-4B00-AC06-F205727D86B6}" dt="2023-09-28T12:44:14.394" v="1644" actId="22"/>
          <ac:spMkLst>
            <pc:docMk/>
            <pc:sldMk cId="1479783248" sldId="1215"/>
            <ac:spMk id="5" creationId="{D3E848D5-A43D-22D6-75A4-B593FB388CDB}"/>
          </ac:spMkLst>
        </pc:spChg>
        <pc:spChg chg="add mod">
          <ac:chgData name="Kellermann, Demian (CYS DEF OPS-DE)" userId="0961c1fd-f967-4660-b634-1c9ce6af0b19" providerId="ADAL" clId="{513664E0-C945-4B00-AC06-F205727D86B6}" dt="2023-09-28T12:47:06.187" v="1660" actId="20577"/>
          <ac:spMkLst>
            <pc:docMk/>
            <pc:sldMk cId="1479783248" sldId="1215"/>
            <ac:spMk id="7" creationId="{70D270D6-DC4B-AE64-0F4B-81C148DA6628}"/>
          </ac:spMkLst>
        </pc:spChg>
        <pc:spChg chg="add mod">
          <ac:chgData name="Kellermann, Demian (CYS DEF OPS-DE)" userId="0961c1fd-f967-4660-b634-1c9ce6af0b19" providerId="ADAL" clId="{513664E0-C945-4B00-AC06-F205727D86B6}" dt="2023-09-28T12:45:32.262" v="1648" actId="12"/>
          <ac:spMkLst>
            <pc:docMk/>
            <pc:sldMk cId="1479783248" sldId="1215"/>
            <ac:spMk id="8" creationId="{6798EDFB-2A49-B0AB-B508-47D47914901A}"/>
          </ac:spMkLst>
        </pc:spChg>
        <pc:spChg chg="add mod">
          <ac:chgData name="Kellermann, Demian (CYS DEF OPS-DE)" userId="0961c1fd-f967-4660-b634-1c9ce6af0b19" providerId="ADAL" clId="{513664E0-C945-4B00-AC06-F205727D86B6}" dt="2023-09-28T13:05:47.872" v="1760" actId="207"/>
          <ac:spMkLst>
            <pc:docMk/>
            <pc:sldMk cId="1479783248" sldId="1215"/>
            <ac:spMk id="9" creationId="{1D0660F5-955B-64BE-149F-D9BF681B54DC}"/>
          </ac:spMkLst>
        </pc:spChg>
        <pc:spChg chg="add mod">
          <ac:chgData name="Kellermann, Demian (CYS DEF OPS-DE)" userId="0961c1fd-f967-4660-b634-1c9ce6af0b19" providerId="ADAL" clId="{513664E0-C945-4B00-AC06-F205727D86B6}" dt="2023-09-28T13:05:47.872" v="1760" actId="207"/>
          <ac:spMkLst>
            <pc:docMk/>
            <pc:sldMk cId="1479783248" sldId="1215"/>
            <ac:spMk id="10" creationId="{7D057D6D-E8BD-02E7-7194-61DC37A59BFD}"/>
          </ac:spMkLst>
        </pc:spChg>
        <pc:spChg chg="add mod">
          <ac:chgData name="Kellermann, Demian (CYS DEF OPS-DE)" userId="0961c1fd-f967-4660-b634-1c9ce6af0b19" providerId="ADAL" clId="{513664E0-C945-4B00-AC06-F205727D86B6}" dt="2023-09-28T13:05:47.872" v="1760" actId="207"/>
          <ac:spMkLst>
            <pc:docMk/>
            <pc:sldMk cId="1479783248" sldId="1215"/>
            <ac:spMk id="11" creationId="{3590AC79-5B16-544C-AC5A-84E598093776}"/>
          </ac:spMkLst>
        </pc:spChg>
        <pc:spChg chg="del">
          <ac:chgData name="Kellermann, Demian (CYS DEF OPS-DE)" userId="0961c1fd-f967-4660-b634-1c9ce6af0b19" providerId="ADAL" clId="{513664E0-C945-4B00-AC06-F205727D86B6}" dt="2023-09-28T12:44:12.380" v="1642" actId="478"/>
          <ac:spMkLst>
            <pc:docMk/>
            <pc:sldMk cId="1479783248" sldId="1215"/>
            <ac:spMk id="12" creationId="{C3EC7E9D-7288-1B09-9F47-E672AB7399BC}"/>
          </ac:spMkLst>
        </pc:spChg>
        <pc:spChg chg="del">
          <ac:chgData name="Kellermann, Demian (CYS DEF OPS-DE)" userId="0961c1fd-f967-4660-b634-1c9ce6af0b19" providerId="ADAL" clId="{513664E0-C945-4B00-AC06-F205727D86B6}" dt="2023-09-28T12:44:10.410" v="1641" actId="478"/>
          <ac:spMkLst>
            <pc:docMk/>
            <pc:sldMk cId="1479783248" sldId="1215"/>
            <ac:spMk id="13" creationId="{DC55ED3A-B07C-C535-2D70-BD7CBCFA8F24}"/>
          </ac:spMkLst>
        </pc:spChg>
        <pc:spChg chg="del">
          <ac:chgData name="Kellermann, Demian (CYS DEF OPS-DE)" userId="0961c1fd-f967-4660-b634-1c9ce6af0b19" providerId="ADAL" clId="{513664E0-C945-4B00-AC06-F205727D86B6}" dt="2023-09-28T12:44:10.410" v="1641" actId="478"/>
          <ac:spMkLst>
            <pc:docMk/>
            <pc:sldMk cId="1479783248" sldId="1215"/>
            <ac:spMk id="14" creationId="{378FB84D-64F2-01AE-4188-5E67DEB80DF0}"/>
          </ac:spMkLst>
        </pc:spChg>
        <pc:spChg chg="del">
          <ac:chgData name="Kellermann, Demian (CYS DEF OPS-DE)" userId="0961c1fd-f967-4660-b634-1c9ce6af0b19" providerId="ADAL" clId="{513664E0-C945-4B00-AC06-F205727D86B6}" dt="2023-09-28T12:44:10.410" v="1641" actId="478"/>
          <ac:spMkLst>
            <pc:docMk/>
            <pc:sldMk cId="1479783248" sldId="1215"/>
            <ac:spMk id="15" creationId="{8C045B69-3C95-E203-D896-E94CA95B9A96}"/>
          </ac:spMkLst>
        </pc:spChg>
        <pc:spChg chg="del">
          <ac:chgData name="Kellermann, Demian (CYS DEF OPS-DE)" userId="0961c1fd-f967-4660-b634-1c9ce6af0b19" providerId="ADAL" clId="{513664E0-C945-4B00-AC06-F205727D86B6}" dt="2023-09-28T12:44:10.410" v="1641" actId="478"/>
          <ac:spMkLst>
            <pc:docMk/>
            <pc:sldMk cId="1479783248" sldId="1215"/>
            <ac:spMk id="16" creationId="{E1D37598-5A0B-BF50-959D-74E16CD181E0}"/>
          </ac:spMkLst>
        </pc:spChg>
        <pc:spChg chg="del">
          <ac:chgData name="Kellermann, Demian (CYS DEF OPS-DE)" userId="0961c1fd-f967-4660-b634-1c9ce6af0b19" providerId="ADAL" clId="{513664E0-C945-4B00-AC06-F205727D86B6}" dt="2023-09-28T12:44:10.410" v="1641" actId="478"/>
          <ac:spMkLst>
            <pc:docMk/>
            <pc:sldMk cId="1479783248" sldId="1215"/>
            <ac:spMk id="17" creationId="{67D5D3CD-9F55-082D-24C6-B4407C5A493A}"/>
          </ac:spMkLst>
        </pc:spChg>
        <pc:spChg chg="del">
          <ac:chgData name="Kellermann, Demian (CYS DEF OPS-DE)" userId="0961c1fd-f967-4660-b634-1c9ce6af0b19" providerId="ADAL" clId="{513664E0-C945-4B00-AC06-F205727D86B6}" dt="2023-09-28T12:44:10.410" v="1641" actId="478"/>
          <ac:spMkLst>
            <pc:docMk/>
            <pc:sldMk cId="1479783248" sldId="1215"/>
            <ac:spMk id="18" creationId="{CD6F6D28-821D-18A3-145E-239FCB010A6A}"/>
          </ac:spMkLst>
        </pc:spChg>
        <pc:spChg chg="del">
          <ac:chgData name="Kellermann, Demian (CYS DEF OPS-DE)" userId="0961c1fd-f967-4660-b634-1c9ce6af0b19" providerId="ADAL" clId="{513664E0-C945-4B00-AC06-F205727D86B6}" dt="2023-09-28T12:44:10.410" v="1641" actId="478"/>
          <ac:spMkLst>
            <pc:docMk/>
            <pc:sldMk cId="1479783248" sldId="1215"/>
            <ac:spMk id="19" creationId="{B8766D26-98C8-E96B-7B81-BBCCE83D3366}"/>
          </ac:spMkLst>
        </pc:spChg>
        <pc:spChg chg="del">
          <ac:chgData name="Kellermann, Demian (CYS DEF OPS-DE)" userId="0961c1fd-f967-4660-b634-1c9ce6af0b19" providerId="ADAL" clId="{513664E0-C945-4B00-AC06-F205727D86B6}" dt="2023-09-28T12:44:10.410" v="1641" actId="478"/>
          <ac:spMkLst>
            <pc:docMk/>
            <pc:sldMk cId="1479783248" sldId="1215"/>
            <ac:spMk id="20" creationId="{7A73C62A-8785-4C1B-2DC2-2BA03E98D3A1}"/>
          </ac:spMkLst>
        </pc:spChg>
        <pc:spChg chg="add mod">
          <ac:chgData name="Kellermann, Demian (CYS DEF OPS-DE)" userId="0961c1fd-f967-4660-b634-1c9ce6af0b19" providerId="ADAL" clId="{513664E0-C945-4B00-AC06-F205727D86B6}" dt="2023-09-28T13:05:47.872" v="1760" actId="207"/>
          <ac:spMkLst>
            <pc:docMk/>
            <pc:sldMk cId="1479783248" sldId="1215"/>
            <ac:spMk id="21" creationId="{71890229-FE16-1DEC-09F7-86A82D36750C}"/>
          </ac:spMkLst>
        </pc:spChg>
        <pc:spChg chg="del">
          <ac:chgData name="Kellermann, Demian (CYS DEF OPS-DE)" userId="0961c1fd-f967-4660-b634-1c9ce6af0b19" providerId="ADAL" clId="{513664E0-C945-4B00-AC06-F205727D86B6}" dt="2023-09-28T12:44:10.410" v="1641" actId="478"/>
          <ac:spMkLst>
            <pc:docMk/>
            <pc:sldMk cId="1479783248" sldId="1215"/>
            <ac:spMk id="22" creationId="{2F090835-6CFE-4157-BD65-CAC779759B2B}"/>
          </ac:spMkLst>
        </pc:spChg>
        <pc:spChg chg="add mod">
          <ac:chgData name="Kellermann, Demian (CYS DEF OPS-DE)" userId="0961c1fd-f967-4660-b634-1c9ce6af0b19" providerId="ADAL" clId="{513664E0-C945-4B00-AC06-F205727D86B6}" dt="2023-09-28T13:05:47.872" v="1760" actId="207"/>
          <ac:spMkLst>
            <pc:docMk/>
            <pc:sldMk cId="1479783248" sldId="1215"/>
            <ac:spMk id="54" creationId="{93A56398-A128-E8D6-2287-445A315D0CA6}"/>
          </ac:spMkLst>
        </pc:spChg>
        <pc:spChg chg="del">
          <ac:chgData name="Kellermann, Demian (CYS DEF OPS-DE)" userId="0961c1fd-f967-4660-b634-1c9ce6af0b19" providerId="ADAL" clId="{513664E0-C945-4B00-AC06-F205727D86B6}" dt="2023-09-28T12:44:10.410" v="1641" actId="478"/>
          <ac:spMkLst>
            <pc:docMk/>
            <pc:sldMk cId="1479783248" sldId="1215"/>
            <ac:spMk id="55" creationId="{0014BAB4-DF65-2768-6C65-490B5FF1D1DE}"/>
          </ac:spMkLst>
        </pc:spChg>
        <pc:spChg chg="add mod">
          <ac:chgData name="Kellermann, Demian (CYS DEF OPS-DE)" userId="0961c1fd-f967-4660-b634-1c9ce6af0b19" providerId="ADAL" clId="{513664E0-C945-4B00-AC06-F205727D86B6}" dt="2023-09-28T13:05:47.872" v="1760" actId="207"/>
          <ac:spMkLst>
            <pc:docMk/>
            <pc:sldMk cId="1479783248" sldId="1215"/>
            <ac:spMk id="59" creationId="{36FF0E1E-9460-AB65-F35E-8CCED6531E1E}"/>
          </ac:spMkLst>
        </pc:spChg>
        <pc:spChg chg="add mod">
          <ac:chgData name="Kellermann, Demian (CYS DEF OPS-DE)" userId="0961c1fd-f967-4660-b634-1c9ce6af0b19" providerId="ADAL" clId="{513664E0-C945-4B00-AC06-F205727D86B6}" dt="2023-09-28T13:05:47.872" v="1760" actId="207"/>
          <ac:spMkLst>
            <pc:docMk/>
            <pc:sldMk cId="1479783248" sldId="1215"/>
            <ac:spMk id="60" creationId="{8B409DA9-0B60-6D9F-2FB0-0FAD0F22DF28}"/>
          </ac:spMkLst>
        </pc:spChg>
        <pc:spChg chg="add mod">
          <ac:chgData name="Kellermann, Demian (CYS DEF OPS-DE)" userId="0961c1fd-f967-4660-b634-1c9ce6af0b19" providerId="ADAL" clId="{513664E0-C945-4B00-AC06-F205727D86B6}" dt="2023-09-28T13:05:47.872" v="1760" actId="207"/>
          <ac:spMkLst>
            <pc:docMk/>
            <pc:sldMk cId="1479783248" sldId="1215"/>
            <ac:spMk id="61" creationId="{6F7F736C-E2F4-92EE-91BC-88F128EF4BBC}"/>
          </ac:spMkLst>
        </pc:spChg>
        <pc:spChg chg="add mod">
          <ac:chgData name="Kellermann, Demian (CYS DEF OPS-DE)" userId="0961c1fd-f967-4660-b634-1c9ce6af0b19" providerId="ADAL" clId="{513664E0-C945-4B00-AC06-F205727D86B6}" dt="2023-09-28T13:05:47.872" v="1760" actId="207"/>
          <ac:spMkLst>
            <pc:docMk/>
            <pc:sldMk cId="1479783248" sldId="1215"/>
            <ac:spMk id="62" creationId="{ABF98E9C-A301-1ADB-786D-0F57E9E68E70}"/>
          </ac:spMkLst>
        </pc:spChg>
        <pc:spChg chg="add mod">
          <ac:chgData name="Kellermann, Demian (CYS DEF OPS-DE)" userId="0961c1fd-f967-4660-b634-1c9ce6af0b19" providerId="ADAL" clId="{513664E0-C945-4B00-AC06-F205727D86B6}" dt="2023-09-28T13:05:47.872" v="1760" actId="207"/>
          <ac:spMkLst>
            <pc:docMk/>
            <pc:sldMk cId="1479783248" sldId="1215"/>
            <ac:spMk id="63" creationId="{C66F9632-B14C-F63D-E6EA-1127186CD313}"/>
          </ac:spMkLst>
        </pc:spChg>
        <pc:spChg chg="add mod">
          <ac:chgData name="Kellermann, Demian (CYS DEF OPS-DE)" userId="0961c1fd-f967-4660-b634-1c9ce6af0b19" providerId="ADAL" clId="{513664E0-C945-4B00-AC06-F205727D86B6}" dt="2023-09-28T13:05:47.872" v="1760" actId="207"/>
          <ac:spMkLst>
            <pc:docMk/>
            <pc:sldMk cId="1479783248" sldId="1215"/>
            <ac:spMk id="64" creationId="{2098D017-35C9-9CD7-3B27-71BD7803055F}"/>
          </ac:spMkLst>
        </pc:spChg>
        <pc:spChg chg="add mod">
          <ac:chgData name="Kellermann, Demian (CYS DEF OPS-DE)" userId="0961c1fd-f967-4660-b634-1c9ce6af0b19" providerId="ADAL" clId="{513664E0-C945-4B00-AC06-F205727D86B6}" dt="2023-09-28T13:05:47.872" v="1760" actId="207"/>
          <ac:spMkLst>
            <pc:docMk/>
            <pc:sldMk cId="1479783248" sldId="1215"/>
            <ac:spMk id="65" creationId="{0DD8A818-2A39-A999-40B4-8B05BBFE92B5}"/>
          </ac:spMkLst>
        </pc:spChg>
        <pc:spChg chg="mod">
          <ac:chgData name="Kellermann, Demian (CYS DEF OPS-DE)" userId="0961c1fd-f967-4660-b634-1c9ce6af0b19" providerId="ADAL" clId="{513664E0-C945-4B00-AC06-F205727D86B6}" dt="2023-09-28T12:44:17.854" v="1645"/>
          <ac:spMkLst>
            <pc:docMk/>
            <pc:sldMk cId="1479783248" sldId="1215"/>
            <ac:spMk id="67" creationId="{BFCF035A-AE6B-537F-B8A5-CD823066D365}"/>
          </ac:spMkLst>
        </pc:spChg>
        <pc:spChg chg="mod">
          <ac:chgData name="Kellermann, Demian (CYS DEF OPS-DE)" userId="0961c1fd-f967-4660-b634-1c9ce6af0b19" providerId="ADAL" clId="{513664E0-C945-4B00-AC06-F205727D86B6}" dt="2023-09-28T12:44:17.854" v="1645"/>
          <ac:spMkLst>
            <pc:docMk/>
            <pc:sldMk cId="1479783248" sldId="1215"/>
            <ac:spMk id="68" creationId="{30A4A141-0339-AB88-AF98-80B6FA2772AD}"/>
          </ac:spMkLst>
        </pc:spChg>
        <pc:spChg chg="mod">
          <ac:chgData name="Kellermann, Demian (CYS DEF OPS-DE)" userId="0961c1fd-f967-4660-b634-1c9ce6af0b19" providerId="ADAL" clId="{513664E0-C945-4B00-AC06-F205727D86B6}" dt="2023-09-28T12:44:17.854" v="1645"/>
          <ac:spMkLst>
            <pc:docMk/>
            <pc:sldMk cId="1479783248" sldId="1215"/>
            <ac:spMk id="99" creationId="{17A878AA-67E5-450D-8C03-479F417D0D08}"/>
          </ac:spMkLst>
        </pc:spChg>
        <pc:spChg chg="mod">
          <ac:chgData name="Kellermann, Demian (CYS DEF OPS-DE)" userId="0961c1fd-f967-4660-b634-1c9ce6af0b19" providerId="ADAL" clId="{513664E0-C945-4B00-AC06-F205727D86B6}" dt="2023-09-28T12:44:17.854" v="1645"/>
          <ac:spMkLst>
            <pc:docMk/>
            <pc:sldMk cId="1479783248" sldId="1215"/>
            <ac:spMk id="100" creationId="{B60A39D6-499C-D997-C742-C05C258A6E35}"/>
          </ac:spMkLst>
        </pc:spChg>
        <pc:spChg chg="mod">
          <ac:chgData name="Kellermann, Demian (CYS DEF OPS-DE)" userId="0961c1fd-f967-4660-b634-1c9ce6af0b19" providerId="ADAL" clId="{513664E0-C945-4B00-AC06-F205727D86B6}" dt="2023-09-28T12:44:17.854" v="1645"/>
          <ac:spMkLst>
            <pc:docMk/>
            <pc:sldMk cId="1479783248" sldId="1215"/>
            <ac:spMk id="102" creationId="{B975310C-CBC2-79BE-86CC-6962F2C79714}"/>
          </ac:spMkLst>
        </pc:spChg>
        <pc:spChg chg="mod">
          <ac:chgData name="Kellermann, Demian (CYS DEF OPS-DE)" userId="0961c1fd-f967-4660-b634-1c9ce6af0b19" providerId="ADAL" clId="{513664E0-C945-4B00-AC06-F205727D86B6}" dt="2023-09-28T12:44:17.854" v="1645"/>
          <ac:spMkLst>
            <pc:docMk/>
            <pc:sldMk cId="1479783248" sldId="1215"/>
            <ac:spMk id="103" creationId="{C1004A97-8B8B-D4A8-B157-4ABAA0ACE91E}"/>
          </ac:spMkLst>
        </pc:spChg>
        <pc:spChg chg="add del mod">
          <ac:chgData name="Kellermann, Demian (CYS DEF OPS-DE)" userId="0961c1fd-f967-4660-b634-1c9ce6af0b19" providerId="ADAL" clId="{513664E0-C945-4B00-AC06-F205727D86B6}" dt="2023-09-28T12:44:24.350" v="1646" actId="478"/>
          <ac:spMkLst>
            <pc:docMk/>
            <pc:sldMk cId="1479783248" sldId="1215"/>
            <ac:spMk id="104" creationId="{654B2CC0-18D3-6F5C-A9CF-1D4F165381CD}"/>
          </ac:spMkLst>
        </pc:spChg>
        <pc:spChg chg="add mod">
          <ac:chgData name="Kellermann, Demian (CYS DEF OPS-DE)" userId="0961c1fd-f967-4660-b634-1c9ce6af0b19" providerId="ADAL" clId="{513664E0-C945-4B00-AC06-F205727D86B6}" dt="2023-09-28T12:46:01.243" v="1655" actId="12"/>
          <ac:spMkLst>
            <pc:docMk/>
            <pc:sldMk cId="1479783248" sldId="1215"/>
            <ac:spMk id="105" creationId="{B4FCAB8A-D9C1-5E26-0B31-BD2F427CA821}"/>
          </ac:spMkLst>
        </pc:spChg>
        <pc:spChg chg="add mod">
          <ac:chgData name="Kellermann, Demian (CYS DEF OPS-DE)" userId="0961c1fd-f967-4660-b634-1c9ce6af0b19" providerId="ADAL" clId="{513664E0-C945-4B00-AC06-F205727D86B6}" dt="2023-09-28T12:45:59.012" v="1654" actId="12"/>
          <ac:spMkLst>
            <pc:docMk/>
            <pc:sldMk cId="1479783248" sldId="1215"/>
            <ac:spMk id="107" creationId="{D0352BEC-1474-B3A9-6C05-24B3E578DADC}"/>
          </ac:spMkLst>
        </pc:spChg>
        <pc:spChg chg="add mod">
          <ac:chgData name="Kellermann, Demian (CYS DEF OPS-DE)" userId="0961c1fd-f967-4660-b634-1c9ce6af0b19" providerId="ADAL" clId="{513664E0-C945-4B00-AC06-F205727D86B6}" dt="2023-09-28T12:45:56.851" v="1653" actId="12"/>
          <ac:spMkLst>
            <pc:docMk/>
            <pc:sldMk cId="1479783248" sldId="1215"/>
            <ac:spMk id="108" creationId="{D27EC060-AA63-7DD6-80A6-A709C4446746}"/>
          </ac:spMkLst>
        </pc:spChg>
        <pc:spChg chg="add mod">
          <ac:chgData name="Kellermann, Demian (CYS DEF OPS-DE)" userId="0961c1fd-f967-4660-b634-1c9ce6af0b19" providerId="ADAL" clId="{513664E0-C945-4B00-AC06-F205727D86B6}" dt="2023-09-28T12:45:54.496" v="1652" actId="12"/>
          <ac:spMkLst>
            <pc:docMk/>
            <pc:sldMk cId="1479783248" sldId="1215"/>
            <ac:spMk id="109" creationId="{95F63357-2AF5-B52A-EE9E-E83D81C1B486}"/>
          </ac:spMkLst>
        </pc:spChg>
        <pc:spChg chg="mod">
          <ac:chgData name="Kellermann, Demian (CYS DEF OPS-DE)" userId="0961c1fd-f967-4660-b634-1c9ce6af0b19" providerId="ADAL" clId="{513664E0-C945-4B00-AC06-F205727D86B6}" dt="2023-09-28T12:44:17.854" v="1645"/>
          <ac:spMkLst>
            <pc:docMk/>
            <pc:sldMk cId="1479783248" sldId="1215"/>
            <ac:spMk id="111" creationId="{6C0ACF75-9824-B2F7-E467-0D1C13614E2E}"/>
          </ac:spMkLst>
        </pc:spChg>
        <pc:spChg chg="mod">
          <ac:chgData name="Kellermann, Demian (CYS DEF OPS-DE)" userId="0961c1fd-f967-4660-b634-1c9ce6af0b19" providerId="ADAL" clId="{513664E0-C945-4B00-AC06-F205727D86B6}" dt="2023-09-28T12:44:17.854" v="1645"/>
          <ac:spMkLst>
            <pc:docMk/>
            <pc:sldMk cId="1479783248" sldId="1215"/>
            <ac:spMk id="112" creationId="{C95489EE-A4DD-F75C-49CB-27AB4C66625C}"/>
          </ac:spMkLst>
        </pc:spChg>
        <pc:spChg chg="mod">
          <ac:chgData name="Kellermann, Demian (CYS DEF OPS-DE)" userId="0961c1fd-f967-4660-b634-1c9ce6af0b19" providerId="ADAL" clId="{513664E0-C945-4B00-AC06-F205727D86B6}" dt="2023-09-28T12:44:17.854" v="1645"/>
          <ac:spMkLst>
            <pc:docMk/>
            <pc:sldMk cId="1479783248" sldId="1215"/>
            <ac:spMk id="114" creationId="{B3F4CD2D-D9DC-95EC-8EDB-82B9F035291A}"/>
          </ac:spMkLst>
        </pc:spChg>
        <pc:spChg chg="mod">
          <ac:chgData name="Kellermann, Demian (CYS DEF OPS-DE)" userId="0961c1fd-f967-4660-b634-1c9ce6af0b19" providerId="ADAL" clId="{513664E0-C945-4B00-AC06-F205727D86B6}" dt="2023-09-28T12:44:17.854" v="1645"/>
          <ac:spMkLst>
            <pc:docMk/>
            <pc:sldMk cId="1479783248" sldId="1215"/>
            <ac:spMk id="115" creationId="{58E63327-1E45-0ED8-11EE-B4CA97A62132}"/>
          </ac:spMkLst>
        </pc:spChg>
        <pc:spChg chg="mod">
          <ac:chgData name="Kellermann, Demian (CYS DEF OPS-DE)" userId="0961c1fd-f967-4660-b634-1c9ce6af0b19" providerId="ADAL" clId="{513664E0-C945-4B00-AC06-F205727D86B6}" dt="2023-09-28T12:44:17.854" v="1645"/>
          <ac:spMkLst>
            <pc:docMk/>
            <pc:sldMk cId="1479783248" sldId="1215"/>
            <ac:spMk id="117" creationId="{4F628F48-E2BD-2B19-EB5D-D7E32B1ABCEE}"/>
          </ac:spMkLst>
        </pc:spChg>
        <pc:spChg chg="mod">
          <ac:chgData name="Kellermann, Demian (CYS DEF OPS-DE)" userId="0961c1fd-f967-4660-b634-1c9ce6af0b19" providerId="ADAL" clId="{513664E0-C945-4B00-AC06-F205727D86B6}" dt="2023-09-28T12:44:17.854" v="1645"/>
          <ac:spMkLst>
            <pc:docMk/>
            <pc:sldMk cId="1479783248" sldId="1215"/>
            <ac:spMk id="118" creationId="{D63CF465-E0F3-EC21-C8E6-7BE59BCCBC3E}"/>
          </ac:spMkLst>
        </pc:spChg>
        <pc:spChg chg="add mod">
          <ac:chgData name="Kellermann, Demian (CYS DEF OPS-DE)" userId="0961c1fd-f967-4660-b634-1c9ce6af0b19" providerId="ADAL" clId="{513664E0-C945-4B00-AC06-F205727D86B6}" dt="2023-09-28T12:44:17.854" v="1645"/>
          <ac:spMkLst>
            <pc:docMk/>
            <pc:sldMk cId="1479783248" sldId="1215"/>
            <ac:spMk id="119" creationId="{72EA828D-802D-35B5-CB92-66F7365B634B}"/>
          </ac:spMkLst>
        </pc:spChg>
        <pc:grpChg chg="add mod">
          <ac:chgData name="Kellermann, Demian (CYS DEF OPS-DE)" userId="0961c1fd-f967-4660-b634-1c9ce6af0b19" providerId="ADAL" clId="{513664E0-C945-4B00-AC06-F205727D86B6}" dt="2023-09-28T12:44:17.854" v="1645"/>
          <ac:grpSpMkLst>
            <pc:docMk/>
            <pc:sldMk cId="1479783248" sldId="1215"/>
            <ac:grpSpMk id="66" creationId="{A459C9ED-F166-AFB5-BDF8-57B254229E6D}"/>
          </ac:grpSpMkLst>
        </pc:grpChg>
        <pc:grpChg chg="del">
          <ac:chgData name="Kellermann, Demian (CYS DEF OPS-DE)" userId="0961c1fd-f967-4660-b634-1c9ce6af0b19" providerId="ADAL" clId="{513664E0-C945-4B00-AC06-F205727D86B6}" dt="2023-09-28T12:44:10.410" v="1641" actId="478"/>
          <ac:grpSpMkLst>
            <pc:docMk/>
            <pc:sldMk cId="1479783248" sldId="1215"/>
            <ac:grpSpMk id="96" creationId="{1DD8FAF3-D1D0-10DC-223E-C404A44FAF21}"/>
          </ac:grpSpMkLst>
        </pc:grpChg>
        <pc:grpChg chg="add mod">
          <ac:chgData name="Kellermann, Demian (CYS DEF OPS-DE)" userId="0961c1fd-f967-4660-b634-1c9ce6af0b19" providerId="ADAL" clId="{513664E0-C945-4B00-AC06-F205727D86B6}" dt="2023-09-28T12:44:17.854" v="1645"/>
          <ac:grpSpMkLst>
            <pc:docMk/>
            <pc:sldMk cId="1479783248" sldId="1215"/>
            <ac:grpSpMk id="97" creationId="{318EDDCE-4081-8003-E233-B61073A71230}"/>
          </ac:grpSpMkLst>
        </pc:grpChg>
        <pc:grpChg chg="add mod">
          <ac:chgData name="Kellermann, Demian (CYS DEF OPS-DE)" userId="0961c1fd-f967-4660-b634-1c9ce6af0b19" providerId="ADAL" clId="{513664E0-C945-4B00-AC06-F205727D86B6}" dt="2023-09-28T12:44:17.854" v="1645"/>
          <ac:grpSpMkLst>
            <pc:docMk/>
            <pc:sldMk cId="1479783248" sldId="1215"/>
            <ac:grpSpMk id="101" creationId="{AC04D3FE-1487-4010-A5DC-D1CD16AAE6CC}"/>
          </ac:grpSpMkLst>
        </pc:grpChg>
        <pc:grpChg chg="del">
          <ac:chgData name="Kellermann, Demian (CYS DEF OPS-DE)" userId="0961c1fd-f967-4660-b634-1c9ce6af0b19" providerId="ADAL" clId="{513664E0-C945-4B00-AC06-F205727D86B6}" dt="2023-09-28T12:44:10.410" v="1641" actId="478"/>
          <ac:grpSpMkLst>
            <pc:docMk/>
            <pc:sldMk cId="1479783248" sldId="1215"/>
            <ac:grpSpMk id="106" creationId="{C6307792-76EB-9823-97E5-9219F3C08508}"/>
          </ac:grpSpMkLst>
        </pc:grpChg>
        <pc:grpChg chg="add mod">
          <ac:chgData name="Kellermann, Demian (CYS DEF OPS-DE)" userId="0961c1fd-f967-4660-b634-1c9ce6af0b19" providerId="ADAL" clId="{513664E0-C945-4B00-AC06-F205727D86B6}" dt="2023-09-28T12:44:17.854" v="1645"/>
          <ac:grpSpMkLst>
            <pc:docMk/>
            <pc:sldMk cId="1479783248" sldId="1215"/>
            <ac:grpSpMk id="110" creationId="{5A175B09-D87D-953D-0576-16F7B4296C1E}"/>
          </ac:grpSpMkLst>
        </pc:grpChg>
        <pc:grpChg chg="add mod">
          <ac:chgData name="Kellermann, Demian (CYS DEF OPS-DE)" userId="0961c1fd-f967-4660-b634-1c9ce6af0b19" providerId="ADAL" clId="{513664E0-C945-4B00-AC06-F205727D86B6}" dt="2023-09-28T12:44:17.854" v="1645"/>
          <ac:grpSpMkLst>
            <pc:docMk/>
            <pc:sldMk cId="1479783248" sldId="1215"/>
            <ac:grpSpMk id="113" creationId="{275E660F-8759-029C-7E25-DA505D6E914B}"/>
          </ac:grpSpMkLst>
        </pc:grpChg>
        <pc:grpChg chg="add mod">
          <ac:chgData name="Kellermann, Demian (CYS DEF OPS-DE)" userId="0961c1fd-f967-4660-b634-1c9ce6af0b19" providerId="ADAL" clId="{513664E0-C945-4B00-AC06-F205727D86B6}" dt="2023-09-28T12:44:17.854" v="1645"/>
          <ac:grpSpMkLst>
            <pc:docMk/>
            <pc:sldMk cId="1479783248" sldId="1215"/>
            <ac:grpSpMk id="116" creationId="{16D4C92E-C25A-1989-9687-C3CA4AC0F4EE}"/>
          </ac:grpSpMkLst>
        </pc:grpChg>
        <pc:grpChg chg="add mod">
          <ac:chgData name="Kellermann, Demian (CYS DEF OPS-DE)" userId="0961c1fd-f967-4660-b634-1c9ce6af0b19" providerId="ADAL" clId="{513664E0-C945-4B00-AC06-F205727D86B6}" dt="2023-09-28T13:05:47.872" v="1760" actId="207"/>
          <ac:grpSpMkLst>
            <pc:docMk/>
            <pc:sldMk cId="1479783248" sldId="1215"/>
            <ac:grpSpMk id="120" creationId="{2C5A3897-423E-93AF-A436-C48D04DEE043}"/>
          </ac:grpSpMkLst>
        </pc:grpChg>
        <pc:grpChg chg="add mod">
          <ac:chgData name="Kellermann, Demian (CYS DEF OPS-DE)" userId="0961c1fd-f967-4660-b634-1c9ce6af0b19" providerId="ADAL" clId="{513664E0-C945-4B00-AC06-F205727D86B6}" dt="2023-09-28T13:05:47.872" v="1760" actId="207"/>
          <ac:grpSpMkLst>
            <pc:docMk/>
            <pc:sldMk cId="1479783248" sldId="1215"/>
            <ac:grpSpMk id="121" creationId="{40C05DF1-D163-3A62-B334-7B7483472D6B}"/>
          </ac:grpSpMkLst>
        </pc:grpChg>
        <pc:grpChg chg="add mod">
          <ac:chgData name="Kellermann, Demian (CYS DEF OPS-DE)" userId="0961c1fd-f967-4660-b634-1c9ce6af0b19" providerId="ADAL" clId="{513664E0-C945-4B00-AC06-F205727D86B6}" dt="2023-09-28T13:05:47.872" v="1760" actId="207"/>
          <ac:grpSpMkLst>
            <pc:docMk/>
            <pc:sldMk cId="1479783248" sldId="1215"/>
            <ac:grpSpMk id="122" creationId="{A4EA1B4B-E91D-3A9E-66BA-FA08841AF66C}"/>
          </ac:grpSpMkLst>
        </pc:grpChg>
        <pc:grpChg chg="add mod">
          <ac:chgData name="Kellermann, Demian (CYS DEF OPS-DE)" userId="0961c1fd-f967-4660-b634-1c9ce6af0b19" providerId="ADAL" clId="{513664E0-C945-4B00-AC06-F205727D86B6}" dt="2023-09-28T13:05:47.872" v="1760" actId="207"/>
          <ac:grpSpMkLst>
            <pc:docMk/>
            <pc:sldMk cId="1479783248" sldId="1215"/>
            <ac:grpSpMk id="123" creationId="{A647DF13-4F09-EC00-E958-D894B6579CB2}"/>
          </ac:grpSpMkLst>
        </pc:grp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131160898" sldId="1216"/>
        </pc:sldMkLst>
      </pc:sldChg>
      <pc:sldChg chg="addSp delSp modSp add mod">
        <pc:chgData name="Kellermann, Demian (CYS DEF OPS-DE)" userId="0961c1fd-f967-4660-b634-1c9ce6af0b19" providerId="ADAL" clId="{513664E0-C945-4B00-AC06-F205727D86B6}" dt="2023-10-05T10:31:54.023" v="10156" actId="478"/>
        <pc:sldMkLst>
          <pc:docMk/>
          <pc:sldMk cId="1165617209" sldId="1216"/>
        </pc:sldMkLst>
        <pc:spChg chg="del">
          <ac:chgData name="Kellermann, Demian (CYS DEF OPS-DE)" userId="0961c1fd-f967-4660-b634-1c9ce6af0b19" providerId="ADAL" clId="{513664E0-C945-4B00-AC06-F205727D86B6}" dt="2023-10-05T10:31:51.713" v="10154" actId="478"/>
          <ac:spMkLst>
            <pc:docMk/>
            <pc:sldMk cId="1165617209" sldId="1216"/>
            <ac:spMk id="8" creationId="{6798EDFB-2A49-B0AB-B508-47D47914901A}"/>
          </ac:spMkLst>
        </pc:spChg>
        <pc:spChg chg="add del">
          <ac:chgData name="Kellermann, Demian (CYS DEF OPS-DE)" userId="0961c1fd-f967-4660-b634-1c9ce6af0b19" providerId="ADAL" clId="{513664E0-C945-4B00-AC06-F205727D86B6}" dt="2023-09-28T12:54:37.821" v="1664" actId="478"/>
          <ac:spMkLst>
            <pc:docMk/>
            <pc:sldMk cId="1165617209" sldId="1216"/>
            <ac:spMk id="14" creationId="{408EA0E0-3EEB-2807-47D8-3714A4E21FF1}"/>
          </ac:spMkLst>
        </pc:spChg>
        <pc:grpChg chg="del">
          <ac:chgData name="Kellermann, Demian (CYS DEF OPS-DE)" userId="0961c1fd-f967-4660-b634-1c9ce6af0b19" providerId="ADAL" clId="{513664E0-C945-4B00-AC06-F205727D86B6}" dt="2023-10-05T10:31:54.023" v="10156" actId="478"/>
          <ac:grpSpMkLst>
            <pc:docMk/>
            <pc:sldMk cId="1165617209" sldId="1216"/>
            <ac:grpSpMk id="120" creationId="{2C5A3897-423E-93AF-A436-C48D04DEE043}"/>
          </ac:grpSpMkLst>
        </pc:grpChg>
        <pc:grpChg chg="del">
          <ac:chgData name="Kellermann, Demian (CYS DEF OPS-DE)" userId="0961c1fd-f967-4660-b634-1c9ce6af0b19" providerId="ADAL" clId="{513664E0-C945-4B00-AC06-F205727D86B6}" dt="2023-10-05T10:31:52.905" v="10155" actId="478"/>
          <ac:grpSpMkLst>
            <pc:docMk/>
            <pc:sldMk cId="1165617209" sldId="1216"/>
            <ac:grpSpMk id="122" creationId="{A4EA1B4B-E91D-3A9E-66BA-FA08841AF66C}"/>
          </ac:grpSpMkLst>
        </pc:grpChg>
        <pc:picChg chg="add mod">
          <ac:chgData name="Kellermann, Demian (CYS DEF OPS-DE)" userId="0961c1fd-f967-4660-b634-1c9ce6af0b19" providerId="ADAL" clId="{513664E0-C945-4B00-AC06-F205727D86B6}" dt="2023-09-28T12:50:59.749" v="1662"/>
          <ac:picMkLst>
            <pc:docMk/>
            <pc:sldMk cId="1165617209" sldId="1216"/>
            <ac:picMk id="3" creationId="{314DDDE6-67BD-620A-F8A6-EF6596F92087}"/>
          </ac:picMkLst>
        </pc:picChg>
        <pc:picChg chg="add mod">
          <ac:chgData name="Kellermann, Demian (CYS DEF OPS-DE)" userId="0961c1fd-f967-4660-b634-1c9ce6af0b19" providerId="ADAL" clId="{513664E0-C945-4B00-AC06-F205727D86B6}" dt="2023-09-28T12:50:59.749" v="1662"/>
          <ac:picMkLst>
            <pc:docMk/>
            <pc:sldMk cId="1165617209" sldId="1216"/>
            <ac:picMk id="5" creationId="{0DC72545-9240-EA65-C6E6-ACECCEBA65CF}"/>
          </ac:picMkLst>
        </pc:picChg>
        <pc:picChg chg="add mod">
          <ac:chgData name="Kellermann, Demian (CYS DEF OPS-DE)" userId="0961c1fd-f967-4660-b634-1c9ce6af0b19" providerId="ADAL" clId="{513664E0-C945-4B00-AC06-F205727D86B6}" dt="2023-09-28T12:50:59.749" v="1662"/>
          <ac:picMkLst>
            <pc:docMk/>
            <pc:sldMk cId="1165617209" sldId="1216"/>
            <ac:picMk id="12" creationId="{6709E6F5-1302-F2DE-4AE6-ACA61326DF0A}"/>
          </ac:picMkLst>
        </pc:pic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1739704757" sldId="1217"/>
        </pc:sldMkLst>
      </pc:sldChg>
      <pc:sldChg chg="addSp delSp modSp add mod">
        <pc:chgData name="Kellermann, Demian (CYS DEF OPS-DE)" userId="0961c1fd-f967-4660-b634-1c9ce6af0b19" providerId="ADAL" clId="{513664E0-C945-4B00-AC06-F205727D86B6}" dt="2023-09-28T12:55:46.329" v="1690" actId="408"/>
        <pc:sldMkLst>
          <pc:docMk/>
          <pc:sldMk cId="3572131023" sldId="1217"/>
        </pc:sldMkLst>
        <pc:spChg chg="mod">
          <ac:chgData name="Kellermann, Demian (CYS DEF OPS-DE)" userId="0961c1fd-f967-4660-b634-1c9ce6af0b19" providerId="ADAL" clId="{513664E0-C945-4B00-AC06-F205727D86B6}" dt="2023-09-28T12:55:11.789" v="1683" actId="20577"/>
          <ac:spMkLst>
            <pc:docMk/>
            <pc:sldMk cId="3572131023" sldId="1217"/>
            <ac:spMk id="2" creationId="{813C3CFC-9697-4716-A651-26E69FE6AB0F}"/>
          </ac:spMkLst>
        </pc:spChg>
        <pc:spChg chg="del">
          <ac:chgData name="Kellermann, Demian (CYS DEF OPS-DE)" userId="0961c1fd-f967-4660-b634-1c9ce6af0b19" providerId="ADAL" clId="{513664E0-C945-4B00-AC06-F205727D86B6}" dt="2023-09-28T12:54:50.066" v="1668" actId="478"/>
          <ac:spMkLst>
            <pc:docMk/>
            <pc:sldMk cId="3572131023" sldId="1217"/>
            <ac:spMk id="7" creationId="{70D270D6-DC4B-AE64-0F4B-81C148DA6628}"/>
          </ac:spMkLst>
        </pc:spChg>
        <pc:spChg chg="del">
          <ac:chgData name="Kellermann, Demian (CYS DEF OPS-DE)" userId="0961c1fd-f967-4660-b634-1c9ce6af0b19" providerId="ADAL" clId="{513664E0-C945-4B00-AC06-F205727D86B6}" dt="2023-09-28T12:54:52.381" v="1669" actId="478"/>
          <ac:spMkLst>
            <pc:docMk/>
            <pc:sldMk cId="3572131023" sldId="1217"/>
            <ac:spMk id="8" creationId="{6798EDFB-2A49-B0AB-B508-47D47914901A}"/>
          </ac:spMkLst>
        </pc:spChg>
        <pc:spChg chg="mod">
          <ac:chgData name="Kellermann, Demian (CYS DEF OPS-DE)" userId="0961c1fd-f967-4660-b634-1c9ce6af0b19" providerId="ADAL" clId="{513664E0-C945-4B00-AC06-F205727D86B6}" dt="2023-09-28T12:55:15.955" v="1685" actId="20577"/>
          <ac:spMkLst>
            <pc:docMk/>
            <pc:sldMk cId="3572131023" sldId="1217"/>
            <ac:spMk id="15" creationId="{263493E5-F73D-7C7D-5D98-2FFFB146EE4F}"/>
          </ac:spMkLst>
        </pc:spChg>
        <pc:spChg chg="mod">
          <ac:chgData name="Kellermann, Demian (CYS DEF OPS-DE)" userId="0961c1fd-f967-4660-b634-1c9ce6af0b19" providerId="ADAL" clId="{513664E0-C945-4B00-AC06-F205727D86B6}" dt="2023-09-28T12:55:04.609" v="1670"/>
          <ac:spMkLst>
            <pc:docMk/>
            <pc:sldMk cId="3572131023" sldId="1217"/>
            <ac:spMk id="16" creationId="{6B95F68F-594B-A975-D317-C7A2539C3D17}"/>
          </ac:spMkLst>
        </pc:spChg>
        <pc:spChg chg="mod">
          <ac:chgData name="Kellermann, Demian (CYS DEF OPS-DE)" userId="0961c1fd-f967-4660-b634-1c9ce6af0b19" providerId="ADAL" clId="{513664E0-C945-4B00-AC06-F205727D86B6}" dt="2023-09-28T12:55:04.609" v="1670"/>
          <ac:spMkLst>
            <pc:docMk/>
            <pc:sldMk cId="3572131023" sldId="1217"/>
            <ac:spMk id="17" creationId="{36A7502F-793E-2E55-5B91-5A093907C754}"/>
          </ac:spMkLst>
        </pc:spChg>
        <pc:spChg chg="mod">
          <ac:chgData name="Kellermann, Demian (CYS DEF OPS-DE)" userId="0961c1fd-f967-4660-b634-1c9ce6af0b19" providerId="ADAL" clId="{513664E0-C945-4B00-AC06-F205727D86B6}" dt="2023-09-28T12:55:18.959" v="1687" actId="20577"/>
          <ac:spMkLst>
            <pc:docMk/>
            <pc:sldMk cId="3572131023" sldId="1217"/>
            <ac:spMk id="20" creationId="{11CFED6E-139D-5D4D-B69D-97DA76B11611}"/>
          </ac:spMkLst>
        </pc:spChg>
        <pc:spChg chg="mod">
          <ac:chgData name="Kellermann, Demian (CYS DEF OPS-DE)" userId="0961c1fd-f967-4660-b634-1c9ce6af0b19" providerId="ADAL" clId="{513664E0-C945-4B00-AC06-F205727D86B6}" dt="2023-09-28T12:55:04.609" v="1670"/>
          <ac:spMkLst>
            <pc:docMk/>
            <pc:sldMk cId="3572131023" sldId="1217"/>
            <ac:spMk id="22" creationId="{47F109CF-8B85-2F91-94B4-6C7EB26BD89A}"/>
          </ac:spMkLst>
        </pc:spChg>
        <pc:spChg chg="mod">
          <ac:chgData name="Kellermann, Demian (CYS DEF OPS-DE)" userId="0961c1fd-f967-4660-b634-1c9ce6af0b19" providerId="ADAL" clId="{513664E0-C945-4B00-AC06-F205727D86B6}" dt="2023-09-28T12:55:04.609" v="1670"/>
          <ac:spMkLst>
            <pc:docMk/>
            <pc:sldMk cId="3572131023" sldId="1217"/>
            <ac:spMk id="23" creationId="{7F9B3B53-847B-E822-8BA2-3B247E4DEE54}"/>
          </ac:spMkLst>
        </pc:spChg>
        <pc:spChg chg="del">
          <ac:chgData name="Kellermann, Demian (CYS DEF OPS-DE)" userId="0961c1fd-f967-4660-b634-1c9ce6af0b19" providerId="ADAL" clId="{513664E0-C945-4B00-AC06-F205727D86B6}" dt="2023-09-28T12:54:50.066" v="1668" actId="478"/>
          <ac:spMkLst>
            <pc:docMk/>
            <pc:sldMk cId="3572131023" sldId="1217"/>
            <ac:spMk id="105" creationId="{B4FCAB8A-D9C1-5E26-0B31-BD2F427CA821}"/>
          </ac:spMkLst>
        </pc:spChg>
        <pc:spChg chg="del">
          <ac:chgData name="Kellermann, Demian (CYS DEF OPS-DE)" userId="0961c1fd-f967-4660-b634-1c9ce6af0b19" providerId="ADAL" clId="{513664E0-C945-4B00-AC06-F205727D86B6}" dt="2023-09-28T12:54:50.066" v="1668" actId="478"/>
          <ac:spMkLst>
            <pc:docMk/>
            <pc:sldMk cId="3572131023" sldId="1217"/>
            <ac:spMk id="107" creationId="{D0352BEC-1474-B3A9-6C05-24B3E578DADC}"/>
          </ac:spMkLst>
        </pc:spChg>
        <pc:spChg chg="del">
          <ac:chgData name="Kellermann, Demian (CYS DEF OPS-DE)" userId="0961c1fd-f967-4660-b634-1c9ce6af0b19" providerId="ADAL" clId="{513664E0-C945-4B00-AC06-F205727D86B6}" dt="2023-09-28T12:54:50.066" v="1668" actId="478"/>
          <ac:spMkLst>
            <pc:docMk/>
            <pc:sldMk cId="3572131023" sldId="1217"/>
            <ac:spMk id="108" creationId="{D27EC060-AA63-7DD6-80A6-A709C4446746}"/>
          </ac:spMkLst>
        </pc:spChg>
        <pc:spChg chg="del">
          <ac:chgData name="Kellermann, Demian (CYS DEF OPS-DE)" userId="0961c1fd-f967-4660-b634-1c9ce6af0b19" providerId="ADAL" clId="{513664E0-C945-4B00-AC06-F205727D86B6}" dt="2023-09-28T12:54:50.066" v="1668" actId="478"/>
          <ac:spMkLst>
            <pc:docMk/>
            <pc:sldMk cId="3572131023" sldId="1217"/>
            <ac:spMk id="109" creationId="{95F63357-2AF5-B52A-EE9E-E83D81C1B486}"/>
          </ac:spMkLst>
        </pc:spChg>
        <pc:spChg chg="del">
          <ac:chgData name="Kellermann, Demian (CYS DEF OPS-DE)" userId="0961c1fd-f967-4660-b634-1c9ce6af0b19" providerId="ADAL" clId="{513664E0-C945-4B00-AC06-F205727D86B6}" dt="2023-09-28T12:54:50.066" v="1668" actId="478"/>
          <ac:spMkLst>
            <pc:docMk/>
            <pc:sldMk cId="3572131023" sldId="1217"/>
            <ac:spMk id="119" creationId="{72EA828D-802D-35B5-CB92-66F7365B634B}"/>
          </ac:spMkLst>
        </pc:spChg>
        <pc:grpChg chg="add mod">
          <ac:chgData name="Kellermann, Demian (CYS DEF OPS-DE)" userId="0961c1fd-f967-4660-b634-1c9ce6af0b19" providerId="ADAL" clId="{513664E0-C945-4B00-AC06-F205727D86B6}" dt="2023-09-28T12:55:40.480" v="1689" actId="12788"/>
          <ac:grpSpMkLst>
            <pc:docMk/>
            <pc:sldMk cId="3572131023" sldId="1217"/>
            <ac:grpSpMk id="13" creationId="{E5788E08-0EAB-5BB3-C09F-3D77B0E89064}"/>
          </ac:grpSpMkLst>
        </pc:grpChg>
        <pc:grpChg chg="mod">
          <ac:chgData name="Kellermann, Demian (CYS DEF OPS-DE)" userId="0961c1fd-f967-4660-b634-1c9ce6af0b19" providerId="ADAL" clId="{513664E0-C945-4B00-AC06-F205727D86B6}" dt="2023-09-28T12:55:04.609" v="1670"/>
          <ac:grpSpMkLst>
            <pc:docMk/>
            <pc:sldMk cId="3572131023" sldId="1217"/>
            <ac:grpSpMk id="14" creationId="{4E5FE819-FB76-D6C7-6250-732D069B74C3}"/>
          </ac:grpSpMkLst>
        </pc:grpChg>
        <pc:grpChg chg="add mod">
          <ac:chgData name="Kellermann, Demian (CYS DEF OPS-DE)" userId="0961c1fd-f967-4660-b634-1c9ce6af0b19" providerId="ADAL" clId="{513664E0-C945-4B00-AC06-F205727D86B6}" dt="2023-09-28T12:55:46.329" v="1690" actId="408"/>
          <ac:grpSpMkLst>
            <pc:docMk/>
            <pc:sldMk cId="3572131023" sldId="1217"/>
            <ac:grpSpMk id="18" creationId="{C31A5BF9-9842-5464-8609-9E3ECE71BDB0}"/>
          </ac:grpSpMkLst>
        </pc:grpChg>
        <pc:grpChg chg="mod">
          <ac:chgData name="Kellermann, Demian (CYS DEF OPS-DE)" userId="0961c1fd-f967-4660-b634-1c9ce6af0b19" providerId="ADAL" clId="{513664E0-C945-4B00-AC06-F205727D86B6}" dt="2023-09-28T12:55:04.609" v="1670"/>
          <ac:grpSpMkLst>
            <pc:docMk/>
            <pc:sldMk cId="3572131023" sldId="1217"/>
            <ac:grpSpMk id="19" creationId="{827BA824-7BD0-1AB0-BCBC-F9FE56858479}"/>
          </ac:grpSpMkLst>
        </pc:grpChg>
        <pc:grpChg chg="del">
          <ac:chgData name="Kellermann, Demian (CYS DEF OPS-DE)" userId="0961c1fd-f967-4660-b634-1c9ce6af0b19" providerId="ADAL" clId="{513664E0-C945-4B00-AC06-F205727D86B6}" dt="2023-09-28T12:54:50.066" v="1668" actId="478"/>
          <ac:grpSpMkLst>
            <pc:docMk/>
            <pc:sldMk cId="3572131023" sldId="1217"/>
            <ac:grpSpMk id="66" creationId="{A459C9ED-F166-AFB5-BDF8-57B254229E6D}"/>
          </ac:grpSpMkLst>
        </pc:grpChg>
        <pc:grpChg chg="del">
          <ac:chgData name="Kellermann, Demian (CYS DEF OPS-DE)" userId="0961c1fd-f967-4660-b634-1c9ce6af0b19" providerId="ADAL" clId="{513664E0-C945-4B00-AC06-F205727D86B6}" dt="2023-09-28T12:54:50.066" v="1668" actId="478"/>
          <ac:grpSpMkLst>
            <pc:docMk/>
            <pc:sldMk cId="3572131023" sldId="1217"/>
            <ac:grpSpMk id="97" creationId="{318EDDCE-4081-8003-E233-B61073A71230}"/>
          </ac:grpSpMkLst>
        </pc:grpChg>
        <pc:grpChg chg="del">
          <ac:chgData name="Kellermann, Demian (CYS DEF OPS-DE)" userId="0961c1fd-f967-4660-b634-1c9ce6af0b19" providerId="ADAL" clId="{513664E0-C945-4B00-AC06-F205727D86B6}" dt="2023-09-28T12:54:50.066" v="1668" actId="478"/>
          <ac:grpSpMkLst>
            <pc:docMk/>
            <pc:sldMk cId="3572131023" sldId="1217"/>
            <ac:grpSpMk id="101" creationId="{AC04D3FE-1487-4010-A5DC-D1CD16AAE6CC}"/>
          </ac:grpSpMkLst>
        </pc:grpChg>
        <pc:grpChg chg="del">
          <ac:chgData name="Kellermann, Demian (CYS DEF OPS-DE)" userId="0961c1fd-f967-4660-b634-1c9ce6af0b19" providerId="ADAL" clId="{513664E0-C945-4B00-AC06-F205727D86B6}" dt="2023-09-28T12:54:50.066" v="1668" actId="478"/>
          <ac:grpSpMkLst>
            <pc:docMk/>
            <pc:sldMk cId="3572131023" sldId="1217"/>
            <ac:grpSpMk id="110" creationId="{5A175B09-D87D-953D-0576-16F7B4296C1E}"/>
          </ac:grpSpMkLst>
        </pc:grpChg>
        <pc:grpChg chg="del">
          <ac:chgData name="Kellermann, Demian (CYS DEF OPS-DE)" userId="0961c1fd-f967-4660-b634-1c9ce6af0b19" providerId="ADAL" clId="{513664E0-C945-4B00-AC06-F205727D86B6}" dt="2023-09-28T12:54:50.066" v="1668" actId="478"/>
          <ac:grpSpMkLst>
            <pc:docMk/>
            <pc:sldMk cId="3572131023" sldId="1217"/>
            <ac:grpSpMk id="113" creationId="{275E660F-8759-029C-7E25-DA505D6E914B}"/>
          </ac:grpSpMkLst>
        </pc:grpChg>
        <pc:grpChg chg="del">
          <ac:chgData name="Kellermann, Demian (CYS DEF OPS-DE)" userId="0961c1fd-f967-4660-b634-1c9ce6af0b19" providerId="ADAL" clId="{513664E0-C945-4B00-AC06-F205727D86B6}" dt="2023-09-28T12:54:50.066" v="1668" actId="478"/>
          <ac:grpSpMkLst>
            <pc:docMk/>
            <pc:sldMk cId="3572131023" sldId="1217"/>
            <ac:grpSpMk id="116" creationId="{16D4C92E-C25A-1989-9687-C3CA4AC0F4EE}"/>
          </ac:grpSpMkLst>
        </pc:grpChg>
        <pc:grpChg chg="del">
          <ac:chgData name="Kellermann, Demian (CYS DEF OPS-DE)" userId="0961c1fd-f967-4660-b634-1c9ce6af0b19" providerId="ADAL" clId="{513664E0-C945-4B00-AC06-F205727D86B6}" dt="2023-09-28T12:54:50.066" v="1668" actId="478"/>
          <ac:grpSpMkLst>
            <pc:docMk/>
            <pc:sldMk cId="3572131023" sldId="1217"/>
            <ac:grpSpMk id="120" creationId="{2C5A3897-423E-93AF-A436-C48D04DEE043}"/>
          </ac:grpSpMkLst>
        </pc:grpChg>
        <pc:grpChg chg="del">
          <ac:chgData name="Kellermann, Demian (CYS DEF OPS-DE)" userId="0961c1fd-f967-4660-b634-1c9ce6af0b19" providerId="ADAL" clId="{513664E0-C945-4B00-AC06-F205727D86B6}" dt="2023-09-28T12:54:50.066" v="1668" actId="478"/>
          <ac:grpSpMkLst>
            <pc:docMk/>
            <pc:sldMk cId="3572131023" sldId="1217"/>
            <ac:grpSpMk id="121" creationId="{40C05DF1-D163-3A62-B334-7B7483472D6B}"/>
          </ac:grpSpMkLst>
        </pc:grpChg>
        <pc:grpChg chg="del">
          <ac:chgData name="Kellermann, Demian (CYS DEF OPS-DE)" userId="0961c1fd-f967-4660-b634-1c9ce6af0b19" providerId="ADAL" clId="{513664E0-C945-4B00-AC06-F205727D86B6}" dt="2023-09-28T12:54:50.066" v="1668" actId="478"/>
          <ac:grpSpMkLst>
            <pc:docMk/>
            <pc:sldMk cId="3572131023" sldId="1217"/>
            <ac:grpSpMk id="122" creationId="{A4EA1B4B-E91D-3A9E-66BA-FA08841AF66C}"/>
          </ac:grpSpMkLst>
        </pc:grpChg>
        <pc:grpChg chg="del">
          <ac:chgData name="Kellermann, Demian (CYS DEF OPS-DE)" userId="0961c1fd-f967-4660-b634-1c9ce6af0b19" providerId="ADAL" clId="{513664E0-C945-4B00-AC06-F205727D86B6}" dt="2023-09-28T12:54:50.066" v="1668" actId="478"/>
          <ac:grpSpMkLst>
            <pc:docMk/>
            <pc:sldMk cId="3572131023" sldId="1217"/>
            <ac:grpSpMk id="123" creationId="{A647DF13-4F09-EC00-E958-D894B6579CB2}"/>
          </ac:grpSpMkLst>
        </pc:grpChg>
        <pc:picChg chg="del">
          <ac:chgData name="Kellermann, Demian (CYS DEF OPS-DE)" userId="0961c1fd-f967-4660-b634-1c9ce6af0b19" providerId="ADAL" clId="{513664E0-C945-4B00-AC06-F205727D86B6}" dt="2023-09-28T12:54:50.066" v="1668" actId="478"/>
          <ac:picMkLst>
            <pc:docMk/>
            <pc:sldMk cId="3572131023" sldId="1217"/>
            <ac:picMk id="3" creationId="{314DDDE6-67BD-620A-F8A6-EF6596F92087}"/>
          </ac:picMkLst>
        </pc:picChg>
        <pc:picChg chg="del">
          <ac:chgData name="Kellermann, Demian (CYS DEF OPS-DE)" userId="0961c1fd-f967-4660-b634-1c9ce6af0b19" providerId="ADAL" clId="{513664E0-C945-4B00-AC06-F205727D86B6}" dt="2023-09-28T12:54:50.066" v="1668" actId="478"/>
          <ac:picMkLst>
            <pc:docMk/>
            <pc:sldMk cId="3572131023" sldId="1217"/>
            <ac:picMk id="5" creationId="{0DC72545-9240-EA65-C6E6-ACECCEBA65CF}"/>
          </ac:picMkLst>
        </pc:picChg>
        <pc:picChg chg="del">
          <ac:chgData name="Kellermann, Demian (CYS DEF OPS-DE)" userId="0961c1fd-f967-4660-b634-1c9ce6af0b19" providerId="ADAL" clId="{513664E0-C945-4B00-AC06-F205727D86B6}" dt="2023-09-28T12:54:50.066" v="1668" actId="478"/>
          <ac:picMkLst>
            <pc:docMk/>
            <pc:sldMk cId="3572131023" sldId="1217"/>
            <ac:picMk id="12" creationId="{6709E6F5-1302-F2DE-4AE6-ACA61326DF0A}"/>
          </ac:picMkLst>
        </pc:pic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437598695" sldId="1218"/>
        </pc:sldMkLst>
      </pc:sldChg>
      <pc:sldChg chg="addSp delSp modSp add mod">
        <pc:chgData name="Kellermann, Demian (CYS DEF OPS-DE)" userId="0961c1fd-f967-4660-b634-1c9ce6af0b19" providerId="ADAL" clId="{513664E0-C945-4B00-AC06-F205727D86B6}" dt="2023-09-28T13:10:35.030" v="1777"/>
        <pc:sldMkLst>
          <pc:docMk/>
          <pc:sldMk cId="2033643887" sldId="1218"/>
        </pc:sldMkLst>
        <pc:spChg chg="mod">
          <ac:chgData name="Kellermann, Demian (CYS DEF OPS-DE)" userId="0961c1fd-f967-4660-b634-1c9ce6af0b19" providerId="ADAL" clId="{513664E0-C945-4B00-AC06-F205727D86B6}" dt="2023-09-28T13:04:01.517" v="1711" actId="20577"/>
          <ac:spMkLst>
            <pc:docMk/>
            <pc:sldMk cId="2033643887" sldId="1218"/>
            <ac:spMk id="2" creationId="{813C3CFC-9697-4716-A651-26E69FE6AB0F}"/>
          </ac:spMkLst>
        </pc:spChg>
        <pc:spChg chg="add del mod">
          <ac:chgData name="Kellermann, Demian (CYS DEF OPS-DE)" userId="0961c1fd-f967-4660-b634-1c9ce6af0b19" providerId="ADAL" clId="{513664E0-C945-4B00-AC06-F205727D86B6}" dt="2023-09-28T13:07:08.487" v="1765" actId="478"/>
          <ac:spMkLst>
            <pc:docMk/>
            <pc:sldMk cId="2033643887" sldId="1218"/>
            <ac:spMk id="3" creationId="{CE3148B2-2E2A-4CF6-1149-714FC02D954A}"/>
          </ac:spMkLst>
        </pc:spChg>
        <pc:spChg chg="add mod">
          <ac:chgData name="Kellermann, Demian (CYS DEF OPS-DE)" userId="0961c1fd-f967-4660-b634-1c9ce6af0b19" providerId="ADAL" clId="{513664E0-C945-4B00-AC06-F205727D86B6}" dt="2023-09-28T13:07:18.211" v="1775" actId="20577"/>
          <ac:spMkLst>
            <pc:docMk/>
            <pc:sldMk cId="2033643887" sldId="1218"/>
            <ac:spMk id="5" creationId="{AA7D96F8-E591-5CF6-13CF-07EA51410B0B}"/>
          </ac:spMkLst>
        </pc:spChg>
        <pc:spChg chg="add 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7" creationId="{21D68B25-98E8-8A18-1E7C-E740B90EE782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8" creationId="{C639814E-44A2-F2F7-07D7-328E22E095D9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9" creationId="{EC202A37-006E-6E71-9519-00275DB8497B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10" creationId="{FEE1F28C-4D48-E15E-CB95-2CDB7B68FE43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11" creationId="{CA27F016-13A1-9776-EA1F-D829D7621147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12" creationId="{A3F719B1-D9A1-BDCF-7E31-033C849A497C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21" creationId="{64CE708E-77F3-EA13-B891-2CE8B760AC37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24" creationId="{BF980525-DB5A-8291-B0B8-3914EC133772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25" creationId="{B643522A-1436-BB2A-A577-D70661405A98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26" creationId="{E34586CA-82CC-C74B-E8CE-DDAD476DF381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27" creationId="{0FA8907B-1FD4-6061-159C-27938B7DD676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28" creationId="{7D6A529F-823D-31D3-2263-E6C6C7F083E7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29" creationId="{B475A467-463F-D926-FED0-C103BAF03647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30" creationId="{86988B13-D162-2D08-3CE0-F9AE02A53E1D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31" creationId="{D7C95394-F823-741C-FC40-B27493BFF159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32" creationId="{D64AB87C-FCB9-88EE-4412-F8691CE7DE93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33" creationId="{7D909C47-A1B8-4C0B-F50E-F59B5C5D15D7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34" creationId="{87CD7486-EDFA-89E2-3E52-9276887E2B26}"/>
          </ac:spMkLst>
        </pc:spChg>
        <pc:spChg chg="add mod">
          <ac:chgData name="Kellermann, Demian (CYS DEF OPS-DE)" userId="0961c1fd-f967-4660-b634-1c9ce6af0b19" providerId="ADAL" clId="{513664E0-C945-4B00-AC06-F205727D86B6}" dt="2023-09-28T13:05:28.452" v="1759" actId="207"/>
          <ac:spMkLst>
            <pc:docMk/>
            <pc:sldMk cId="2033643887" sldId="1218"/>
            <ac:spMk id="35" creationId="{165AE19E-28DB-740C-4F0A-9AF2E4BA0C1D}"/>
          </ac:spMkLst>
        </pc:spChg>
        <pc:spChg chg="add 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36" creationId="{ACF9115C-7293-8284-287E-50AD37B62912}"/>
          </ac:spMkLst>
        </pc:spChg>
        <pc:spChg chg="add 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37" creationId="{C0CF3ED5-6347-561A-EE0A-1AD45943DF5D}"/>
          </ac:spMkLst>
        </pc:spChg>
        <pc:spChg chg="add 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38" creationId="{1154858B-EEFA-0417-6B86-7053835BBA93}"/>
          </ac:spMkLst>
        </pc:spChg>
        <pc:spChg chg="add 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39" creationId="{83370CC1-556A-F1D4-222A-E65B0A9373B4}"/>
          </ac:spMkLst>
        </pc:spChg>
        <pc:spChg chg="add 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40" creationId="{30318F56-118D-92C9-65B6-65E18A4FF3CC}"/>
          </ac:spMkLst>
        </pc:spChg>
        <pc:spChg chg="add 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41" creationId="{1F0AF13A-CF8F-4C7E-0524-E224820EACA3}"/>
          </ac:spMkLst>
        </pc:spChg>
        <pc:spChg chg="add 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42" creationId="{BF9A9A7F-8966-2427-F32E-DB598CE57865}"/>
          </ac:spMkLst>
        </pc:spChg>
        <pc:spChg chg="add 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43" creationId="{19876125-7D3A-776F-FB8D-FC6F0078C91F}"/>
          </ac:spMkLst>
        </pc:spChg>
        <pc:spChg chg="add 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44" creationId="{3297ADFE-E65B-510D-826C-D666E6B1C849}"/>
          </ac:spMkLst>
        </pc:spChg>
        <pc:spChg chg="add 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45" creationId="{4FCF6A10-2577-7F15-68BD-3A360D2ABF92}"/>
          </ac:spMkLst>
        </pc:spChg>
        <pc:spChg chg="add 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46" creationId="{744EC5D0-C08A-FA4C-C4B8-57BFE9B60B5F}"/>
          </ac:spMkLst>
        </pc:spChg>
        <pc:spChg chg="add 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47" creationId="{ACA5A23B-7248-86CA-6E72-792497938A3E}"/>
          </ac:spMkLst>
        </pc:spChg>
        <pc:spChg chg="add 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48" creationId="{59ED3A7F-B1A8-0106-3591-6F3D1020FC81}"/>
          </ac:spMkLst>
        </pc:spChg>
        <pc:spChg chg="add del mod">
          <ac:chgData name="Kellermann, Demian (CYS DEF OPS-DE)" userId="0961c1fd-f967-4660-b634-1c9ce6af0b19" providerId="ADAL" clId="{513664E0-C945-4B00-AC06-F205727D86B6}" dt="2023-09-28T13:04:31.430" v="1713" actId="478"/>
          <ac:spMkLst>
            <pc:docMk/>
            <pc:sldMk cId="2033643887" sldId="1218"/>
            <ac:spMk id="49" creationId="{2EEE1783-6C41-5CC8-9EF5-F92903D48890}"/>
          </ac:spMkLst>
        </pc:spChg>
        <pc:spChg chg="add del mod">
          <ac:chgData name="Kellermann, Demian (CYS DEF OPS-DE)" userId="0961c1fd-f967-4660-b634-1c9ce6af0b19" providerId="ADAL" clId="{513664E0-C945-4B00-AC06-F205727D86B6}" dt="2023-09-28T13:06:14.340" v="1762" actId="478"/>
          <ac:spMkLst>
            <pc:docMk/>
            <pc:sldMk cId="2033643887" sldId="1218"/>
            <ac:spMk id="50" creationId="{34D99A9A-07E5-D99F-CE17-7B080352DD73}"/>
          </ac:spMkLst>
        </pc:spChg>
        <pc:spChg chg="add del mod">
          <ac:chgData name="Kellermann, Demian (CYS DEF OPS-DE)" userId="0961c1fd-f967-4660-b634-1c9ce6af0b19" providerId="ADAL" clId="{513664E0-C945-4B00-AC06-F205727D86B6}" dt="2023-09-28T13:06:14.340" v="1762" actId="478"/>
          <ac:spMkLst>
            <pc:docMk/>
            <pc:sldMk cId="2033643887" sldId="1218"/>
            <ac:spMk id="51" creationId="{96FA2A88-57BD-3B2E-710A-B79F7BB03ACD}"/>
          </ac:spMkLst>
        </pc:spChg>
        <pc:spChg chg="add del mod">
          <ac:chgData name="Kellermann, Demian (CYS DEF OPS-DE)" userId="0961c1fd-f967-4660-b634-1c9ce6af0b19" providerId="ADAL" clId="{513664E0-C945-4B00-AC06-F205727D86B6}" dt="2023-09-28T13:06:14.340" v="1762" actId="478"/>
          <ac:spMkLst>
            <pc:docMk/>
            <pc:sldMk cId="2033643887" sldId="1218"/>
            <ac:spMk id="52" creationId="{5154C26D-DCD0-AA3C-54AE-24D01A721772}"/>
          </ac:spMkLst>
        </pc:spChg>
        <pc:spChg chg="add del mod">
          <ac:chgData name="Kellermann, Demian (CYS DEF OPS-DE)" userId="0961c1fd-f967-4660-b634-1c9ce6af0b19" providerId="ADAL" clId="{513664E0-C945-4B00-AC06-F205727D86B6}" dt="2023-09-28T13:06:14.340" v="1762" actId="478"/>
          <ac:spMkLst>
            <pc:docMk/>
            <pc:sldMk cId="2033643887" sldId="1218"/>
            <ac:spMk id="53" creationId="{B512AC55-7B2C-F332-5363-5F2F7A6E3A06}"/>
          </ac:spMkLst>
        </pc:spChg>
        <pc:spChg chg="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55" creationId="{668657BD-A17E-E76B-0B80-CC6909EE8765}"/>
          </ac:spMkLst>
        </pc:spChg>
        <pc:spChg chg="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56" creationId="{09A91650-3D06-260C-017A-C1427100E72A}"/>
          </ac:spMkLst>
        </pc:spChg>
        <pc:spChg chg="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58" creationId="{B1F09E2B-2B72-8272-4D02-84EF9274A1A4}"/>
          </ac:spMkLst>
        </pc:spChg>
        <pc:spChg chg="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59" creationId="{75C23E9E-52A5-E11D-2116-15212FC7B3A3}"/>
          </ac:spMkLst>
        </pc:spChg>
        <pc:spChg chg="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61" creationId="{6838348B-D0EE-4A5C-734E-2F04091AEBAA}"/>
          </ac:spMkLst>
        </pc:spChg>
        <pc:spChg chg="mod">
          <ac:chgData name="Kellermann, Demian (CYS DEF OPS-DE)" userId="0961c1fd-f967-4660-b634-1c9ce6af0b19" providerId="ADAL" clId="{513664E0-C945-4B00-AC06-F205727D86B6}" dt="2023-09-28T13:04:26.610" v="1712"/>
          <ac:spMkLst>
            <pc:docMk/>
            <pc:sldMk cId="2033643887" sldId="1218"/>
            <ac:spMk id="62" creationId="{EE58D700-C4F1-9579-1839-9E214CD564F4}"/>
          </ac:spMkLst>
        </pc:spChg>
        <pc:spChg chg="add mod">
          <ac:chgData name="Kellermann, Demian (CYS DEF OPS-DE)" userId="0961c1fd-f967-4660-b634-1c9ce6af0b19" providerId="ADAL" clId="{513664E0-C945-4B00-AC06-F205727D86B6}" dt="2023-09-28T13:06:24.775" v="1764"/>
          <ac:spMkLst>
            <pc:docMk/>
            <pc:sldMk cId="2033643887" sldId="1218"/>
            <ac:spMk id="63" creationId="{220FB3ED-D310-C472-A6FB-C72307540C9D}"/>
          </ac:spMkLst>
        </pc:spChg>
        <pc:spChg chg="add mod">
          <ac:chgData name="Kellermann, Demian (CYS DEF OPS-DE)" userId="0961c1fd-f967-4660-b634-1c9ce6af0b19" providerId="ADAL" clId="{513664E0-C945-4B00-AC06-F205727D86B6}" dt="2023-09-28T13:06:24.775" v="1764"/>
          <ac:spMkLst>
            <pc:docMk/>
            <pc:sldMk cId="2033643887" sldId="1218"/>
            <ac:spMk id="64" creationId="{3CD43815-4304-E9E6-C58A-354A17578CC2}"/>
          </ac:spMkLst>
        </pc:spChg>
        <pc:spChg chg="add mod">
          <ac:chgData name="Kellermann, Demian (CYS DEF OPS-DE)" userId="0961c1fd-f967-4660-b634-1c9ce6af0b19" providerId="ADAL" clId="{513664E0-C945-4B00-AC06-F205727D86B6}" dt="2023-09-28T13:06:24.775" v="1764"/>
          <ac:spMkLst>
            <pc:docMk/>
            <pc:sldMk cId="2033643887" sldId="1218"/>
            <ac:spMk id="65" creationId="{7251A335-45BD-8502-4453-29D67366BCEF}"/>
          </ac:spMkLst>
        </pc:spChg>
        <pc:spChg chg="add mod">
          <ac:chgData name="Kellermann, Demian (CYS DEF OPS-DE)" userId="0961c1fd-f967-4660-b634-1c9ce6af0b19" providerId="ADAL" clId="{513664E0-C945-4B00-AC06-F205727D86B6}" dt="2023-09-28T13:06:24.775" v="1764"/>
          <ac:spMkLst>
            <pc:docMk/>
            <pc:sldMk cId="2033643887" sldId="1218"/>
            <ac:spMk id="66" creationId="{1BCB54F0-1BF1-3B34-7721-2382D3574AFF}"/>
          </ac:spMkLst>
        </pc:spChg>
        <pc:spChg chg="mod">
          <ac:chgData name="Kellermann, Demian (CYS DEF OPS-DE)" userId="0961c1fd-f967-4660-b634-1c9ce6af0b19" providerId="ADAL" clId="{513664E0-C945-4B00-AC06-F205727D86B6}" dt="2023-09-28T13:06:24.775" v="1764"/>
          <ac:spMkLst>
            <pc:docMk/>
            <pc:sldMk cId="2033643887" sldId="1218"/>
            <ac:spMk id="68" creationId="{AA699833-BB90-8B39-E3A6-56CFFC2EBEE6}"/>
          </ac:spMkLst>
        </pc:spChg>
        <pc:spChg chg="mod">
          <ac:chgData name="Kellermann, Demian (CYS DEF OPS-DE)" userId="0961c1fd-f967-4660-b634-1c9ce6af0b19" providerId="ADAL" clId="{513664E0-C945-4B00-AC06-F205727D86B6}" dt="2023-09-28T13:06:24.775" v="1764"/>
          <ac:spMkLst>
            <pc:docMk/>
            <pc:sldMk cId="2033643887" sldId="1218"/>
            <ac:spMk id="69" creationId="{9C5CBC7C-C767-CD02-1B74-C18C28562412}"/>
          </ac:spMkLst>
        </pc:spChg>
        <pc:spChg chg="mod">
          <ac:chgData name="Kellermann, Demian (CYS DEF OPS-DE)" userId="0961c1fd-f967-4660-b634-1c9ce6af0b19" providerId="ADAL" clId="{513664E0-C945-4B00-AC06-F205727D86B6}" dt="2023-09-28T13:06:24.775" v="1764"/>
          <ac:spMkLst>
            <pc:docMk/>
            <pc:sldMk cId="2033643887" sldId="1218"/>
            <ac:spMk id="71" creationId="{5B44DDFA-BBFE-090A-3498-5A4E22643E0D}"/>
          </ac:spMkLst>
        </pc:spChg>
        <pc:spChg chg="mod">
          <ac:chgData name="Kellermann, Demian (CYS DEF OPS-DE)" userId="0961c1fd-f967-4660-b634-1c9ce6af0b19" providerId="ADAL" clId="{513664E0-C945-4B00-AC06-F205727D86B6}" dt="2023-09-28T13:06:24.775" v="1764"/>
          <ac:spMkLst>
            <pc:docMk/>
            <pc:sldMk cId="2033643887" sldId="1218"/>
            <ac:spMk id="72" creationId="{30349EDD-AE76-7C74-324B-5EAEF45C0596}"/>
          </ac:spMkLst>
        </pc:spChg>
        <pc:spChg chg="mod">
          <ac:chgData name="Kellermann, Demian (CYS DEF OPS-DE)" userId="0961c1fd-f967-4660-b634-1c9ce6af0b19" providerId="ADAL" clId="{513664E0-C945-4B00-AC06-F205727D86B6}" dt="2023-09-28T13:06:24.775" v="1764"/>
          <ac:spMkLst>
            <pc:docMk/>
            <pc:sldMk cId="2033643887" sldId="1218"/>
            <ac:spMk id="74" creationId="{1678099C-FD35-468C-09C2-6AEA0F742BBA}"/>
          </ac:spMkLst>
        </pc:spChg>
        <pc:spChg chg="mod">
          <ac:chgData name="Kellermann, Demian (CYS DEF OPS-DE)" userId="0961c1fd-f967-4660-b634-1c9ce6af0b19" providerId="ADAL" clId="{513664E0-C945-4B00-AC06-F205727D86B6}" dt="2023-09-28T13:06:24.775" v="1764"/>
          <ac:spMkLst>
            <pc:docMk/>
            <pc:sldMk cId="2033643887" sldId="1218"/>
            <ac:spMk id="75" creationId="{2FDB8AA2-23C4-F809-3F8C-EE8D0D366EE0}"/>
          </ac:spMkLst>
        </pc:spChg>
        <pc:spChg chg="add mod">
          <ac:chgData name="Kellermann, Demian (CYS DEF OPS-DE)" userId="0961c1fd-f967-4660-b634-1c9ce6af0b19" providerId="ADAL" clId="{513664E0-C945-4B00-AC06-F205727D86B6}" dt="2023-09-28T13:06:24.775" v="1764"/>
          <ac:spMkLst>
            <pc:docMk/>
            <pc:sldMk cId="2033643887" sldId="1218"/>
            <ac:spMk id="76" creationId="{562E7E60-726C-40CA-FF0F-DA2EAA435A22}"/>
          </ac:spMkLst>
        </pc:spChg>
        <pc:spChg chg="add del mod">
          <ac:chgData name="Kellermann, Demian (CYS DEF OPS-DE)" userId="0961c1fd-f967-4660-b634-1c9ce6af0b19" providerId="ADAL" clId="{513664E0-C945-4B00-AC06-F205727D86B6}" dt="2023-09-28T13:10:35.030" v="1777"/>
          <ac:spMkLst>
            <pc:docMk/>
            <pc:sldMk cId="2033643887" sldId="1218"/>
            <ac:spMk id="77" creationId="{48C72616-D263-7068-495B-3EB4D1E027A1}"/>
          </ac:spMkLst>
        </pc:spChg>
        <pc:spChg chg="add del mod">
          <ac:chgData name="Kellermann, Demian (CYS DEF OPS-DE)" userId="0961c1fd-f967-4660-b634-1c9ce6af0b19" providerId="ADAL" clId="{513664E0-C945-4B00-AC06-F205727D86B6}" dt="2023-09-28T13:10:35.030" v="1777"/>
          <ac:spMkLst>
            <pc:docMk/>
            <pc:sldMk cId="2033643887" sldId="1218"/>
            <ac:spMk id="78" creationId="{0676B538-2D4A-8A5E-85E6-85A643DCCCFF}"/>
          </ac:spMkLst>
        </pc:spChg>
        <pc:spChg chg="add del mod">
          <ac:chgData name="Kellermann, Demian (CYS DEF OPS-DE)" userId="0961c1fd-f967-4660-b634-1c9ce6af0b19" providerId="ADAL" clId="{513664E0-C945-4B00-AC06-F205727D86B6}" dt="2023-09-28T13:10:35.030" v="1777"/>
          <ac:spMkLst>
            <pc:docMk/>
            <pc:sldMk cId="2033643887" sldId="1218"/>
            <ac:spMk id="79" creationId="{C00366D4-EB21-53C1-6C8B-2BB879925ABA}"/>
          </ac:spMkLst>
        </pc:spChg>
        <pc:spChg chg="add del mod">
          <ac:chgData name="Kellermann, Demian (CYS DEF OPS-DE)" userId="0961c1fd-f967-4660-b634-1c9ce6af0b19" providerId="ADAL" clId="{513664E0-C945-4B00-AC06-F205727D86B6}" dt="2023-09-28T13:10:35.030" v="1777"/>
          <ac:spMkLst>
            <pc:docMk/>
            <pc:sldMk cId="2033643887" sldId="1218"/>
            <ac:spMk id="80" creationId="{D53DB863-8EA4-AB78-8F37-FA9F3D1BE1C0}"/>
          </ac:spMkLst>
        </pc:spChg>
        <pc:spChg chg="mod">
          <ac:chgData name="Kellermann, Demian (CYS DEF OPS-DE)" userId="0961c1fd-f967-4660-b634-1c9ce6af0b19" providerId="ADAL" clId="{513664E0-C945-4B00-AC06-F205727D86B6}" dt="2023-09-28T13:10:33.634" v="1776"/>
          <ac:spMkLst>
            <pc:docMk/>
            <pc:sldMk cId="2033643887" sldId="1218"/>
            <ac:spMk id="82" creationId="{791074A4-04A8-9AF2-8692-56E0FDF20FC9}"/>
          </ac:spMkLst>
        </pc:spChg>
        <pc:spChg chg="mod">
          <ac:chgData name="Kellermann, Demian (CYS DEF OPS-DE)" userId="0961c1fd-f967-4660-b634-1c9ce6af0b19" providerId="ADAL" clId="{513664E0-C945-4B00-AC06-F205727D86B6}" dt="2023-09-28T13:10:33.634" v="1776"/>
          <ac:spMkLst>
            <pc:docMk/>
            <pc:sldMk cId="2033643887" sldId="1218"/>
            <ac:spMk id="83" creationId="{EF90E989-A564-C88D-CA7E-D2B3CA778C84}"/>
          </ac:spMkLst>
        </pc:spChg>
        <pc:spChg chg="mod">
          <ac:chgData name="Kellermann, Demian (CYS DEF OPS-DE)" userId="0961c1fd-f967-4660-b634-1c9ce6af0b19" providerId="ADAL" clId="{513664E0-C945-4B00-AC06-F205727D86B6}" dt="2023-09-28T13:10:33.634" v="1776"/>
          <ac:spMkLst>
            <pc:docMk/>
            <pc:sldMk cId="2033643887" sldId="1218"/>
            <ac:spMk id="85" creationId="{F6B5136E-DE95-B608-284B-ACAA06C05EED}"/>
          </ac:spMkLst>
        </pc:spChg>
        <pc:spChg chg="mod">
          <ac:chgData name="Kellermann, Demian (CYS DEF OPS-DE)" userId="0961c1fd-f967-4660-b634-1c9ce6af0b19" providerId="ADAL" clId="{513664E0-C945-4B00-AC06-F205727D86B6}" dt="2023-09-28T13:10:33.634" v="1776"/>
          <ac:spMkLst>
            <pc:docMk/>
            <pc:sldMk cId="2033643887" sldId="1218"/>
            <ac:spMk id="86" creationId="{8648913F-2907-4B05-584D-C87C3F424260}"/>
          </ac:spMkLst>
        </pc:spChg>
        <pc:spChg chg="mod">
          <ac:chgData name="Kellermann, Demian (CYS DEF OPS-DE)" userId="0961c1fd-f967-4660-b634-1c9ce6af0b19" providerId="ADAL" clId="{513664E0-C945-4B00-AC06-F205727D86B6}" dt="2023-09-28T13:10:33.634" v="1776"/>
          <ac:spMkLst>
            <pc:docMk/>
            <pc:sldMk cId="2033643887" sldId="1218"/>
            <ac:spMk id="88" creationId="{DA4DA993-D64C-1E5C-3A13-77577D4F41A6}"/>
          </ac:spMkLst>
        </pc:spChg>
        <pc:spChg chg="mod">
          <ac:chgData name="Kellermann, Demian (CYS DEF OPS-DE)" userId="0961c1fd-f967-4660-b634-1c9ce6af0b19" providerId="ADAL" clId="{513664E0-C945-4B00-AC06-F205727D86B6}" dt="2023-09-28T13:10:33.634" v="1776"/>
          <ac:spMkLst>
            <pc:docMk/>
            <pc:sldMk cId="2033643887" sldId="1218"/>
            <ac:spMk id="89" creationId="{5B0EEE6C-BED0-431D-F8D9-7E001522EC61}"/>
          </ac:spMkLst>
        </pc:spChg>
        <pc:spChg chg="add del mod">
          <ac:chgData name="Kellermann, Demian (CYS DEF OPS-DE)" userId="0961c1fd-f967-4660-b634-1c9ce6af0b19" providerId="ADAL" clId="{513664E0-C945-4B00-AC06-F205727D86B6}" dt="2023-09-28T13:10:35.030" v="1777"/>
          <ac:spMkLst>
            <pc:docMk/>
            <pc:sldMk cId="2033643887" sldId="1218"/>
            <ac:spMk id="90" creationId="{0BA9621F-ACEE-4887-8CD8-9EC99751D9D8}"/>
          </ac:spMkLst>
        </pc:spChg>
        <pc:grpChg chg="del">
          <ac:chgData name="Kellermann, Demian (CYS DEF OPS-DE)" userId="0961c1fd-f967-4660-b634-1c9ce6af0b19" providerId="ADAL" clId="{513664E0-C945-4B00-AC06-F205727D86B6}" dt="2023-09-28T13:03:52.998" v="1692" actId="478"/>
          <ac:grpSpMkLst>
            <pc:docMk/>
            <pc:sldMk cId="2033643887" sldId="1218"/>
            <ac:grpSpMk id="13" creationId="{E5788E08-0EAB-5BB3-C09F-3D77B0E89064}"/>
          </ac:grpSpMkLst>
        </pc:grpChg>
        <pc:grpChg chg="del">
          <ac:chgData name="Kellermann, Demian (CYS DEF OPS-DE)" userId="0961c1fd-f967-4660-b634-1c9ce6af0b19" providerId="ADAL" clId="{513664E0-C945-4B00-AC06-F205727D86B6}" dt="2023-09-28T13:03:54.806" v="1693" actId="478"/>
          <ac:grpSpMkLst>
            <pc:docMk/>
            <pc:sldMk cId="2033643887" sldId="1218"/>
            <ac:grpSpMk id="18" creationId="{C31A5BF9-9842-5464-8609-9E3ECE71BDB0}"/>
          </ac:grpSpMkLst>
        </pc:grpChg>
        <pc:grpChg chg="add del mod">
          <ac:chgData name="Kellermann, Demian (CYS DEF OPS-DE)" userId="0961c1fd-f967-4660-b634-1c9ce6af0b19" providerId="ADAL" clId="{513664E0-C945-4B00-AC06-F205727D86B6}" dt="2023-09-28T13:06:11.751" v="1761" actId="478"/>
          <ac:grpSpMkLst>
            <pc:docMk/>
            <pc:sldMk cId="2033643887" sldId="1218"/>
            <ac:grpSpMk id="54" creationId="{F3BDC106-5ED5-BB60-19B6-44264C0CD325}"/>
          </ac:grpSpMkLst>
        </pc:grpChg>
        <pc:grpChg chg="add del mod">
          <ac:chgData name="Kellermann, Demian (CYS DEF OPS-DE)" userId="0961c1fd-f967-4660-b634-1c9ce6af0b19" providerId="ADAL" clId="{513664E0-C945-4B00-AC06-F205727D86B6}" dt="2023-09-28T13:06:11.751" v="1761" actId="478"/>
          <ac:grpSpMkLst>
            <pc:docMk/>
            <pc:sldMk cId="2033643887" sldId="1218"/>
            <ac:grpSpMk id="57" creationId="{209BE157-E75F-D4EE-2708-9E49D5C50EF5}"/>
          </ac:grpSpMkLst>
        </pc:grpChg>
        <pc:grpChg chg="add del mod">
          <ac:chgData name="Kellermann, Demian (CYS DEF OPS-DE)" userId="0961c1fd-f967-4660-b634-1c9ce6af0b19" providerId="ADAL" clId="{513664E0-C945-4B00-AC06-F205727D86B6}" dt="2023-09-28T13:06:11.751" v="1761" actId="478"/>
          <ac:grpSpMkLst>
            <pc:docMk/>
            <pc:sldMk cId="2033643887" sldId="1218"/>
            <ac:grpSpMk id="60" creationId="{D21CB0BC-ED39-5D42-3BB2-7E05F87839C6}"/>
          </ac:grpSpMkLst>
        </pc:grpChg>
        <pc:grpChg chg="add mod">
          <ac:chgData name="Kellermann, Demian (CYS DEF OPS-DE)" userId="0961c1fd-f967-4660-b634-1c9ce6af0b19" providerId="ADAL" clId="{513664E0-C945-4B00-AC06-F205727D86B6}" dt="2023-09-28T13:06:24.775" v="1764"/>
          <ac:grpSpMkLst>
            <pc:docMk/>
            <pc:sldMk cId="2033643887" sldId="1218"/>
            <ac:grpSpMk id="67" creationId="{93A00528-F450-A6E5-C4BA-3C2196AF953A}"/>
          </ac:grpSpMkLst>
        </pc:grpChg>
        <pc:grpChg chg="add mod">
          <ac:chgData name="Kellermann, Demian (CYS DEF OPS-DE)" userId="0961c1fd-f967-4660-b634-1c9ce6af0b19" providerId="ADAL" clId="{513664E0-C945-4B00-AC06-F205727D86B6}" dt="2023-09-28T13:06:24.775" v="1764"/>
          <ac:grpSpMkLst>
            <pc:docMk/>
            <pc:sldMk cId="2033643887" sldId="1218"/>
            <ac:grpSpMk id="70" creationId="{6653642B-1D7F-97B2-21BE-45A801BF841B}"/>
          </ac:grpSpMkLst>
        </pc:grpChg>
        <pc:grpChg chg="add mod">
          <ac:chgData name="Kellermann, Demian (CYS DEF OPS-DE)" userId="0961c1fd-f967-4660-b634-1c9ce6af0b19" providerId="ADAL" clId="{513664E0-C945-4B00-AC06-F205727D86B6}" dt="2023-09-28T13:06:24.775" v="1764"/>
          <ac:grpSpMkLst>
            <pc:docMk/>
            <pc:sldMk cId="2033643887" sldId="1218"/>
            <ac:grpSpMk id="73" creationId="{0BD71AA7-9FDF-18F6-39E6-345D194F426A}"/>
          </ac:grpSpMkLst>
        </pc:grpChg>
        <pc:grpChg chg="add del mod">
          <ac:chgData name="Kellermann, Demian (CYS DEF OPS-DE)" userId="0961c1fd-f967-4660-b634-1c9ce6af0b19" providerId="ADAL" clId="{513664E0-C945-4B00-AC06-F205727D86B6}" dt="2023-09-28T13:10:35.030" v="1777"/>
          <ac:grpSpMkLst>
            <pc:docMk/>
            <pc:sldMk cId="2033643887" sldId="1218"/>
            <ac:grpSpMk id="81" creationId="{0C876824-A459-2510-4B86-C57CC128A946}"/>
          </ac:grpSpMkLst>
        </pc:grpChg>
        <pc:grpChg chg="add del mod">
          <ac:chgData name="Kellermann, Demian (CYS DEF OPS-DE)" userId="0961c1fd-f967-4660-b634-1c9ce6af0b19" providerId="ADAL" clId="{513664E0-C945-4B00-AC06-F205727D86B6}" dt="2023-09-28T13:10:35.030" v="1777"/>
          <ac:grpSpMkLst>
            <pc:docMk/>
            <pc:sldMk cId="2033643887" sldId="1218"/>
            <ac:grpSpMk id="84" creationId="{C1E812FB-69A0-78C5-07F3-E48B2C5BF322}"/>
          </ac:grpSpMkLst>
        </pc:grpChg>
        <pc:grpChg chg="add del mod">
          <ac:chgData name="Kellermann, Demian (CYS DEF OPS-DE)" userId="0961c1fd-f967-4660-b634-1c9ce6af0b19" providerId="ADAL" clId="{513664E0-C945-4B00-AC06-F205727D86B6}" dt="2023-09-28T13:10:35.030" v="1777"/>
          <ac:grpSpMkLst>
            <pc:docMk/>
            <pc:sldMk cId="2033643887" sldId="1218"/>
            <ac:grpSpMk id="87" creationId="{A8AC527C-BB52-D832-B44E-D9F3F308AF06}"/>
          </ac:grpSpMkLst>
        </pc:grpChg>
      </pc:sldChg>
      <pc:sldChg chg="addSp delSp modSp add mod">
        <pc:chgData name="Kellermann, Demian (CYS DEF OPS-DE)" userId="0961c1fd-f967-4660-b634-1c9ce6af0b19" providerId="ADAL" clId="{513664E0-C945-4B00-AC06-F205727D86B6}" dt="2023-10-05T10:35:40.014" v="10261"/>
        <pc:sldMkLst>
          <pc:docMk/>
          <pc:sldMk cId="1637533955" sldId="1219"/>
        </pc:sldMkLst>
        <pc:spChg chg="mod">
          <ac:chgData name="Kellermann, Demian (CYS DEF OPS-DE)" userId="0961c1fd-f967-4660-b634-1c9ce6af0b19" providerId="ADAL" clId="{513664E0-C945-4B00-AC06-F205727D86B6}" dt="2023-09-28T13:10:48.647" v="1815" actId="20577"/>
          <ac:spMkLst>
            <pc:docMk/>
            <pc:sldMk cId="1637533955" sldId="1219"/>
            <ac:spMk id="2" creationId="{813C3CFC-9697-4716-A651-26E69FE6AB0F}"/>
          </ac:spMkLst>
        </pc:spChg>
        <pc:spChg chg="add del">
          <ac:chgData name="Kellermann, Demian (CYS DEF OPS-DE)" userId="0961c1fd-f967-4660-b634-1c9ce6af0b19" providerId="ADAL" clId="{513664E0-C945-4B00-AC06-F205727D86B6}" dt="2023-10-05T10:34:25.691" v="10231" actId="11529"/>
          <ac:spMkLst>
            <pc:docMk/>
            <pc:sldMk cId="1637533955" sldId="1219"/>
            <ac:spMk id="5" creationId="{7A00D46A-D36E-22CB-2ADC-ED8523B3DE1B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5" creationId="{AA7D96F8-E591-5CF6-13CF-07EA51410B0B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7" creationId="{21D68B25-98E8-8A18-1E7C-E740B90EE782}"/>
          </ac:spMkLst>
        </pc:spChg>
        <pc:spChg chg="add del mod">
          <ac:chgData name="Kellermann, Demian (CYS DEF OPS-DE)" userId="0961c1fd-f967-4660-b634-1c9ce6af0b19" providerId="ADAL" clId="{513664E0-C945-4B00-AC06-F205727D86B6}" dt="2023-10-05T10:34:44.380" v="10235" actId="478"/>
          <ac:spMkLst>
            <pc:docMk/>
            <pc:sldMk cId="1637533955" sldId="1219"/>
            <ac:spMk id="7" creationId="{CB6D2597-F3B6-8E37-EFE2-F9A8F9055D41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8" creationId="{C639814E-44A2-F2F7-07D7-328E22E095D9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9" creationId="{EC202A37-006E-6E71-9519-00275DB8497B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10" creationId="{FEE1F28C-4D48-E15E-CB95-2CDB7B68FE43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11" creationId="{CA27F016-13A1-9776-EA1F-D829D7621147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12" creationId="{A3F719B1-D9A1-BDCF-7E31-033C849A497C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21" creationId="{64CE708E-77F3-EA13-B891-2CE8B760AC37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24" creationId="{BF980525-DB5A-8291-B0B8-3914EC133772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25" creationId="{B643522A-1436-BB2A-A577-D70661405A98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26" creationId="{E34586CA-82CC-C74B-E8CE-DDAD476DF381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27" creationId="{0FA8907B-1FD4-6061-159C-27938B7DD676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28" creationId="{7D6A529F-823D-31D3-2263-E6C6C7F083E7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29" creationId="{B475A467-463F-D926-FED0-C103BAF03647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30" creationId="{86988B13-D162-2D08-3CE0-F9AE02A53E1D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31" creationId="{D7C95394-F823-741C-FC40-B27493BFF159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32" creationId="{D64AB87C-FCB9-88EE-4412-F8691CE7DE93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33" creationId="{7D909C47-A1B8-4C0B-F50E-F59B5C5D15D7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34" creationId="{87CD7486-EDFA-89E2-3E52-9276887E2B26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35" creationId="{165AE19E-28DB-740C-4F0A-9AF2E4BA0C1D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36" creationId="{ACF9115C-7293-8284-287E-50AD37B62912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37" creationId="{C0CF3ED5-6347-561A-EE0A-1AD45943DF5D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38" creationId="{1154858B-EEFA-0417-6B86-7053835BBA93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39" creationId="{83370CC1-556A-F1D4-222A-E65B0A9373B4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40" creationId="{30318F56-118D-92C9-65B6-65E18A4FF3CC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41" creationId="{1F0AF13A-CF8F-4C7E-0524-E224820EACA3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42" creationId="{BF9A9A7F-8966-2427-F32E-DB598CE57865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43" creationId="{19876125-7D3A-776F-FB8D-FC6F0078C91F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44" creationId="{3297ADFE-E65B-510D-826C-D666E6B1C849}"/>
          </ac:spMkLst>
        </pc:spChg>
        <pc:spChg chg="del">
          <ac:chgData name="Kellermann, Demian (CYS DEF OPS-DE)" userId="0961c1fd-f967-4660-b634-1c9ce6af0b19" providerId="ADAL" clId="{513664E0-C945-4B00-AC06-F205727D86B6}" dt="2023-09-28T13:10:58.510" v="1817" actId="478"/>
          <ac:spMkLst>
            <pc:docMk/>
            <pc:sldMk cId="1637533955" sldId="1219"/>
            <ac:spMk id="45" creationId="{4FCF6A10-2577-7F15-68BD-3A360D2ABF92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46" creationId="{744EC5D0-C08A-FA4C-C4B8-57BFE9B60B5F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47" creationId="{ACA5A23B-7248-86CA-6E72-792497938A3E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48" creationId="{59ED3A7F-B1A8-0106-3591-6F3D1020FC81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63" creationId="{220FB3ED-D310-C472-A6FB-C72307540C9D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64" creationId="{3CD43815-4304-E9E6-C58A-354A17578CC2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65" creationId="{7251A335-45BD-8502-4453-29D67366BCEF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66" creationId="{1BCB54F0-1BF1-3B34-7721-2382D3574AFF}"/>
          </ac:spMkLst>
        </pc:spChg>
        <pc:spChg chg="del">
          <ac:chgData name="Kellermann, Demian (CYS DEF OPS-DE)" userId="0961c1fd-f967-4660-b634-1c9ce6af0b19" providerId="ADAL" clId="{513664E0-C945-4B00-AC06-F205727D86B6}" dt="2023-09-28T13:10:56.254" v="1816" actId="478"/>
          <ac:spMkLst>
            <pc:docMk/>
            <pc:sldMk cId="1637533955" sldId="1219"/>
            <ac:spMk id="76" creationId="{562E7E60-726C-40CA-FF0F-DA2EAA435A22}"/>
          </ac:spMkLst>
        </pc:spChg>
        <pc:grpChg chg="del">
          <ac:chgData name="Kellermann, Demian (CYS DEF OPS-DE)" userId="0961c1fd-f967-4660-b634-1c9ce6af0b19" providerId="ADAL" clId="{513664E0-C945-4B00-AC06-F205727D86B6}" dt="2023-09-28T13:10:56.254" v="1816" actId="478"/>
          <ac:grpSpMkLst>
            <pc:docMk/>
            <pc:sldMk cId="1637533955" sldId="1219"/>
            <ac:grpSpMk id="67" creationId="{93A00528-F450-A6E5-C4BA-3C2196AF953A}"/>
          </ac:grpSpMkLst>
        </pc:grpChg>
        <pc:grpChg chg="del">
          <ac:chgData name="Kellermann, Demian (CYS DEF OPS-DE)" userId="0961c1fd-f967-4660-b634-1c9ce6af0b19" providerId="ADAL" clId="{513664E0-C945-4B00-AC06-F205727D86B6}" dt="2023-09-28T13:10:56.254" v="1816" actId="478"/>
          <ac:grpSpMkLst>
            <pc:docMk/>
            <pc:sldMk cId="1637533955" sldId="1219"/>
            <ac:grpSpMk id="70" creationId="{6653642B-1D7F-97B2-21BE-45A801BF841B}"/>
          </ac:grpSpMkLst>
        </pc:grpChg>
        <pc:grpChg chg="del">
          <ac:chgData name="Kellermann, Demian (CYS DEF OPS-DE)" userId="0961c1fd-f967-4660-b634-1c9ce6af0b19" providerId="ADAL" clId="{513664E0-C945-4B00-AC06-F205727D86B6}" dt="2023-09-28T13:10:56.254" v="1816" actId="478"/>
          <ac:grpSpMkLst>
            <pc:docMk/>
            <pc:sldMk cId="1637533955" sldId="1219"/>
            <ac:grpSpMk id="73" creationId="{0BD71AA7-9FDF-18F6-39E6-345D194F426A}"/>
          </ac:grpSpMkLst>
        </pc:grpChg>
        <pc:graphicFrameChg chg="add mod modGraphic">
          <ac:chgData name="Kellermann, Demian (CYS DEF OPS-DE)" userId="0961c1fd-f967-4660-b634-1c9ce6af0b19" providerId="ADAL" clId="{513664E0-C945-4B00-AC06-F205727D86B6}" dt="2023-10-05T10:35:40.014" v="10261"/>
          <ac:graphicFrameMkLst>
            <pc:docMk/>
            <pc:sldMk cId="1637533955" sldId="1219"/>
            <ac:graphicFrameMk id="3" creationId="{67020D5A-F7D0-8C74-10E9-C274A130415E}"/>
          </ac:graphicFrameMkLst>
        </pc:graphicFrame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596689924" sldId="1219"/>
        </pc:sldMkLst>
      </pc:sldChg>
      <pc:sldChg chg="addSp delSp modSp add del mod">
        <pc:chgData name="Kellermann, Demian (CYS DEF OPS-DE)" userId="0961c1fd-f967-4660-b634-1c9ce6af0b19" providerId="ADAL" clId="{513664E0-C945-4B00-AC06-F205727D86B6}" dt="2023-09-28T14:06:05.587" v="3038" actId="47"/>
        <pc:sldMkLst>
          <pc:docMk/>
          <pc:sldMk cId="1211413623" sldId="1220"/>
        </pc:sldMkLst>
        <pc:spChg chg="mod">
          <ac:chgData name="Kellermann, Demian (CYS DEF OPS-DE)" userId="0961c1fd-f967-4660-b634-1c9ce6af0b19" providerId="ADAL" clId="{513664E0-C945-4B00-AC06-F205727D86B6}" dt="2023-09-28T13:24:15.573" v="2257" actId="20577"/>
          <ac:spMkLst>
            <pc:docMk/>
            <pc:sldMk cId="1211413623" sldId="1220"/>
            <ac:spMk id="2" creationId="{813C3CFC-9697-4716-A651-26E69FE6AB0F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5" creationId="{AA7D96F8-E591-5CF6-13CF-07EA51410B0B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7" creationId="{21D68B25-98E8-8A18-1E7C-E740B90EE782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8" creationId="{C639814E-44A2-F2F7-07D7-328E22E095D9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9" creationId="{EC202A37-006E-6E71-9519-00275DB8497B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10" creationId="{FEE1F28C-4D48-E15E-CB95-2CDB7B68FE43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11" creationId="{CA27F016-13A1-9776-EA1F-D829D7621147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12" creationId="{A3F719B1-D9A1-BDCF-7E31-033C849A497C}"/>
          </ac:spMkLst>
        </pc:spChg>
        <pc:spChg chg="add del mod">
          <ac:chgData name="Kellermann, Demian (CYS DEF OPS-DE)" userId="0961c1fd-f967-4660-b634-1c9ce6af0b19" providerId="ADAL" clId="{513664E0-C945-4B00-AC06-F205727D86B6}" dt="2023-09-28T13:34:37.552" v="2282" actId="478"/>
          <ac:spMkLst>
            <pc:docMk/>
            <pc:sldMk cId="1211413623" sldId="1220"/>
            <ac:spMk id="13" creationId="{BF9DAD49-80EE-01C7-1826-B0A2367B9B24}"/>
          </ac:spMkLst>
        </pc:spChg>
        <pc:spChg chg="add del">
          <ac:chgData name="Kellermann, Demian (CYS DEF OPS-DE)" userId="0961c1fd-f967-4660-b634-1c9ce6af0b19" providerId="ADAL" clId="{513664E0-C945-4B00-AC06-F205727D86B6}" dt="2023-09-28T13:39:30.701" v="2322" actId="478"/>
          <ac:spMkLst>
            <pc:docMk/>
            <pc:sldMk cId="1211413623" sldId="1220"/>
            <ac:spMk id="17" creationId="{855B0EB2-9778-FA0D-A1EE-3B63D6324990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21" creationId="{64CE708E-77F3-EA13-B891-2CE8B760AC37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24" creationId="{BF980525-DB5A-8291-B0B8-3914EC133772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25" creationId="{B643522A-1436-BB2A-A577-D70661405A98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26" creationId="{E34586CA-82CC-C74B-E8CE-DDAD476DF381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27" creationId="{0FA8907B-1FD4-6061-159C-27938B7DD676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28" creationId="{7D6A529F-823D-31D3-2263-E6C6C7F083E7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29" creationId="{B475A467-463F-D926-FED0-C103BAF03647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30" creationId="{86988B13-D162-2D08-3CE0-F9AE02A53E1D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31" creationId="{D7C95394-F823-741C-FC40-B27493BFF159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32" creationId="{D64AB87C-FCB9-88EE-4412-F8691CE7DE93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33" creationId="{7D909C47-A1B8-4C0B-F50E-F59B5C5D15D7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34" creationId="{87CD7486-EDFA-89E2-3E52-9276887E2B26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35" creationId="{165AE19E-28DB-740C-4F0A-9AF2E4BA0C1D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36" creationId="{ACF9115C-7293-8284-287E-50AD37B62912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37" creationId="{C0CF3ED5-6347-561A-EE0A-1AD45943DF5D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38" creationId="{1154858B-EEFA-0417-6B86-7053835BBA93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39" creationId="{83370CC1-556A-F1D4-222A-E65B0A9373B4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40" creationId="{30318F56-118D-92C9-65B6-65E18A4FF3CC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41" creationId="{1F0AF13A-CF8F-4C7E-0524-E224820EACA3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42" creationId="{BF9A9A7F-8966-2427-F32E-DB598CE57865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43" creationId="{19876125-7D3A-776F-FB8D-FC6F0078C91F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44" creationId="{3297ADFE-E65B-510D-826C-D666E6B1C849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45" creationId="{4FCF6A10-2577-7F15-68BD-3A360D2ABF92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46" creationId="{744EC5D0-C08A-FA4C-C4B8-57BFE9B60B5F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47" creationId="{ACA5A23B-7248-86CA-6E72-792497938A3E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48" creationId="{59ED3A7F-B1A8-0106-3591-6F3D1020FC81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63" creationId="{220FB3ED-D310-C472-A6FB-C72307540C9D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64" creationId="{3CD43815-4304-E9E6-C58A-354A17578CC2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65" creationId="{7251A335-45BD-8502-4453-29D67366BCEF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66" creationId="{1BCB54F0-1BF1-3B34-7721-2382D3574AFF}"/>
          </ac:spMkLst>
        </pc:spChg>
        <pc:spChg chg="del">
          <ac:chgData name="Kellermann, Demian (CYS DEF OPS-DE)" userId="0961c1fd-f967-4660-b634-1c9ce6af0b19" providerId="ADAL" clId="{513664E0-C945-4B00-AC06-F205727D86B6}" dt="2023-09-28T13:24:20.354" v="2258" actId="478"/>
          <ac:spMkLst>
            <pc:docMk/>
            <pc:sldMk cId="1211413623" sldId="1220"/>
            <ac:spMk id="76" creationId="{562E7E60-726C-40CA-FF0F-DA2EAA435A22}"/>
          </ac:spMkLst>
        </pc:spChg>
        <pc:grpChg chg="del">
          <ac:chgData name="Kellermann, Demian (CYS DEF OPS-DE)" userId="0961c1fd-f967-4660-b634-1c9ce6af0b19" providerId="ADAL" clId="{513664E0-C945-4B00-AC06-F205727D86B6}" dt="2023-09-28T13:24:20.354" v="2258" actId="478"/>
          <ac:grpSpMkLst>
            <pc:docMk/>
            <pc:sldMk cId="1211413623" sldId="1220"/>
            <ac:grpSpMk id="67" creationId="{93A00528-F450-A6E5-C4BA-3C2196AF953A}"/>
          </ac:grpSpMkLst>
        </pc:grpChg>
        <pc:grpChg chg="del">
          <ac:chgData name="Kellermann, Demian (CYS DEF OPS-DE)" userId="0961c1fd-f967-4660-b634-1c9ce6af0b19" providerId="ADAL" clId="{513664E0-C945-4B00-AC06-F205727D86B6}" dt="2023-09-28T13:24:20.354" v="2258" actId="478"/>
          <ac:grpSpMkLst>
            <pc:docMk/>
            <pc:sldMk cId="1211413623" sldId="1220"/>
            <ac:grpSpMk id="70" creationId="{6653642B-1D7F-97B2-21BE-45A801BF841B}"/>
          </ac:grpSpMkLst>
        </pc:grpChg>
        <pc:grpChg chg="del">
          <ac:chgData name="Kellermann, Demian (CYS DEF OPS-DE)" userId="0961c1fd-f967-4660-b634-1c9ce6af0b19" providerId="ADAL" clId="{513664E0-C945-4B00-AC06-F205727D86B6}" dt="2023-09-28T13:24:20.354" v="2258" actId="478"/>
          <ac:grpSpMkLst>
            <pc:docMk/>
            <pc:sldMk cId="1211413623" sldId="1220"/>
            <ac:grpSpMk id="73" creationId="{0BD71AA7-9FDF-18F6-39E6-345D194F426A}"/>
          </ac:grpSpMkLst>
        </pc:grpChg>
        <pc:picChg chg="add del">
          <ac:chgData name="Kellermann, Demian (CYS DEF OPS-DE)" userId="0961c1fd-f967-4660-b634-1c9ce6af0b19" providerId="ADAL" clId="{513664E0-C945-4B00-AC06-F205727D86B6}" dt="2023-09-28T13:25:52.927" v="2262"/>
          <ac:picMkLst>
            <pc:docMk/>
            <pc:sldMk cId="1211413623" sldId="1220"/>
            <ac:picMk id="3" creationId="{9ACB7975-F669-AC3D-04CB-3F9CAE7E1EF5}"/>
          </ac:picMkLst>
        </pc:picChg>
        <pc:picChg chg="add del mod">
          <ac:chgData name="Kellermann, Demian (CYS DEF OPS-DE)" userId="0961c1fd-f967-4660-b634-1c9ce6af0b19" providerId="ADAL" clId="{513664E0-C945-4B00-AC06-F205727D86B6}" dt="2023-09-28T13:34:38.152" v="2283" actId="478"/>
          <ac:picMkLst>
            <pc:docMk/>
            <pc:sldMk cId="1211413623" sldId="1220"/>
            <ac:picMk id="15" creationId="{ED1404EC-F2D5-C1EE-7EBF-68772725FAE6}"/>
          </ac:picMkLst>
        </pc:picChg>
        <pc:picChg chg="add mod">
          <ac:chgData name="Kellermann, Demian (CYS DEF OPS-DE)" userId="0961c1fd-f967-4660-b634-1c9ce6af0b19" providerId="ADAL" clId="{513664E0-C945-4B00-AC06-F205727D86B6}" dt="2023-09-28T13:26:34.385" v="2264" actId="1076"/>
          <ac:picMkLst>
            <pc:docMk/>
            <pc:sldMk cId="1211413623" sldId="1220"/>
            <ac:picMk id="1026" creationId="{D754EB09-5D57-9149-4AAD-1CDEF4E347D0}"/>
          </ac:picMkLst>
        </pc:pic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583441579" sldId="1220"/>
        </pc:sldMkLst>
      </pc:sldChg>
      <pc:sldChg chg="add del">
        <pc:chgData name="Kellermann, Demian (CYS DEF OPS-DE)" userId="0961c1fd-f967-4660-b634-1c9ce6af0b19" providerId="ADAL" clId="{513664E0-C945-4B00-AC06-F205727D86B6}" dt="2023-09-28T13:25:37.951" v="2260"/>
        <pc:sldMkLst>
          <pc:docMk/>
          <pc:sldMk cId="1062589025" sldId="1221"/>
        </pc:sldMkLst>
      </pc:sldChg>
      <pc:sldChg chg="addSp delSp modSp add del mod">
        <pc:chgData name="Kellermann, Demian (CYS DEF OPS-DE)" userId="0961c1fd-f967-4660-b634-1c9ce6af0b19" providerId="ADAL" clId="{513664E0-C945-4B00-AC06-F205727D86B6}" dt="2023-09-28T14:05:56.543" v="3037" actId="47"/>
        <pc:sldMkLst>
          <pc:docMk/>
          <pc:sldMk cId="1303460243" sldId="1221"/>
        </pc:sldMkLst>
        <pc:spChg chg="add mod topLvl">
          <ac:chgData name="Kellermann, Demian (CYS DEF OPS-DE)" userId="0961c1fd-f967-4660-b634-1c9ce6af0b19" providerId="ADAL" clId="{513664E0-C945-4B00-AC06-F205727D86B6}" dt="2023-09-28T14:05:55.180" v="3036" actId="478"/>
          <ac:spMkLst>
            <pc:docMk/>
            <pc:sldMk cId="1303460243" sldId="1221"/>
            <ac:spMk id="3" creationId="{94B8E08B-97CE-4626-9D67-4EE57185DA80}"/>
          </ac:spMkLst>
        </pc:spChg>
        <pc:grpChg chg="add del mod">
          <ac:chgData name="Kellermann, Demian (CYS DEF OPS-DE)" userId="0961c1fd-f967-4660-b634-1c9ce6af0b19" providerId="ADAL" clId="{513664E0-C945-4B00-AC06-F205727D86B6}" dt="2023-09-28T14:05:55.180" v="3036" actId="478"/>
          <ac:grpSpMkLst>
            <pc:docMk/>
            <pc:sldMk cId="1303460243" sldId="1221"/>
            <ac:grpSpMk id="5" creationId="{F744018D-E450-91F6-170A-2EC9E37B3A78}"/>
          </ac:grpSpMkLst>
        </pc:grpChg>
        <pc:picChg chg="del mod topLvl">
          <ac:chgData name="Kellermann, Demian (CYS DEF OPS-DE)" userId="0961c1fd-f967-4660-b634-1c9ce6af0b19" providerId="ADAL" clId="{513664E0-C945-4B00-AC06-F205727D86B6}" dt="2023-09-28T14:05:55.180" v="3036" actId="478"/>
          <ac:picMkLst>
            <pc:docMk/>
            <pc:sldMk cId="1303460243" sldId="1221"/>
            <ac:picMk id="15" creationId="{ED1404EC-F2D5-C1EE-7EBF-68772725FAE6}"/>
          </ac:picMkLst>
        </pc:pic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606376546" sldId="1221"/>
        </pc:sldMkLst>
      </pc:sldChg>
      <pc:sldChg chg="addSp delSp modSp add del mod">
        <pc:chgData name="Kellermann, Demian (CYS DEF OPS-DE)" userId="0961c1fd-f967-4660-b634-1c9ce6af0b19" providerId="ADAL" clId="{513664E0-C945-4B00-AC06-F205727D86B6}" dt="2023-10-05T14:22:14.910" v="12150" actId="47"/>
        <pc:sldMkLst>
          <pc:docMk/>
          <pc:sldMk cId="800485257" sldId="1222"/>
        </pc:sldMkLst>
        <pc:spChg chg="mod">
          <ac:chgData name="Kellermann, Demian (CYS DEF OPS-DE)" userId="0961c1fd-f967-4660-b634-1c9ce6af0b19" providerId="ADAL" clId="{513664E0-C945-4B00-AC06-F205727D86B6}" dt="2023-10-05T10:38:10.148" v="10359" actId="20577"/>
          <ac:spMkLst>
            <pc:docMk/>
            <pc:sldMk cId="800485257" sldId="1222"/>
            <ac:spMk id="2" creationId="{813C3CFC-9697-4716-A651-26E69FE6AB0F}"/>
          </ac:spMkLst>
        </pc:spChg>
        <pc:spChg chg="add del mod">
          <ac:chgData name="Kellermann, Demian (CYS DEF OPS-DE)" userId="0961c1fd-f967-4660-b634-1c9ce6af0b19" providerId="ADAL" clId="{513664E0-C945-4B00-AC06-F205727D86B6}" dt="2023-09-28T13:40:46.394" v="2332" actId="478"/>
          <ac:spMkLst>
            <pc:docMk/>
            <pc:sldMk cId="800485257" sldId="1222"/>
            <ac:spMk id="3" creationId="{7B671F5D-D4DC-E62D-A26E-80781F4CE941}"/>
          </ac:spMkLst>
        </pc:spChg>
        <pc:spChg chg="add mod">
          <ac:chgData name="Kellermann, Demian (CYS DEF OPS-DE)" userId="0961c1fd-f967-4660-b634-1c9ce6af0b19" providerId="ADAL" clId="{513664E0-C945-4B00-AC06-F205727D86B6}" dt="2023-09-29T08:10:15.015" v="3707" actId="34135"/>
          <ac:spMkLst>
            <pc:docMk/>
            <pc:sldMk cId="800485257" sldId="1222"/>
            <ac:spMk id="3" creationId="{8A9C2B79-DDBD-077A-9EF4-22C9800B4DF6}"/>
          </ac:spMkLst>
        </pc:spChg>
        <pc:spChg chg="add del mod">
          <ac:chgData name="Kellermann, Demian (CYS DEF OPS-DE)" userId="0961c1fd-f967-4660-b634-1c9ce6af0b19" providerId="ADAL" clId="{513664E0-C945-4B00-AC06-F205727D86B6}" dt="2023-09-29T08:08:45.381" v="3704"/>
          <ac:spMkLst>
            <pc:docMk/>
            <pc:sldMk cId="800485257" sldId="1222"/>
            <ac:spMk id="5" creationId="{37B676ED-1C2C-586A-950D-CB96AA6F0837}"/>
          </ac:spMkLst>
        </pc:spChg>
        <pc:spChg chg="add del mod">
          <ac:chgData name="Kellermann, Demian (CYS DEF OPS-DE)" userId="0961c1fd-f967-4660-b634-1c9ce6af0b19" providerId="ADAL" clId="{513664E0-C945-4B00-AC06-F205727D86B6}" dt="2023-09-28T14:06:16.444" v="3040" actId="478"/>
          <ac:spMkLst>
            <pc:docMk/>
            <pc:sldMk cId="800485257" sldId="1222"/>
            <ac:spMk id="5" creationId="{932C0C0F-F186-9BA0-5E48-A17A12A14AB3}"/>
          </ac:spMkLst>
        </pc:spChg>
        <pc:spChg chg="add mod">
          <ac:chgData name="Kellermann, Demian (CYS DEF OPS-DE)" userId="0961c1fd-f967-4660-b634-1c9ce6af0b19" providerId="ADAL" clId="{513664E0-C945-4B00-AC06-F205727D86B6}" dt="2023-09-29T09:44:28.833" v="4982" actId="207"/>
          <ac:spMkLst>
            <pc:docMk/>
            <pc:sldMk cId="800485257" sldId="1222"/>
            <ac:spMk id="7" creationId="{72DE90BD-D1CF-5B36-1B90-DBF738EE4A83}"/>
          </ac:spMkLst>
        </pc:spChg>
        <pc:spChg chg="add del mod">
          <ac:chgData name="Kellermann, Demian (CYS DEF OPS-DE)" userId="0961c1fd-f967-4660-b634-1c9ce6af0b19" providerId="ADAL" clId="{513664E0-C945-4B00-AC06-F205727D86B6}" dt="2023-09-28T14:06:18.264" v="3041" actId="478"/>
          <ac:spMkLst>
            <pc:docMk/>
            <pc:sldMk cId="800485257" sldId="1222"/>
            <ac:spMk id="7" creationId="{E5C85B02-6DA3-BFEC-2BF0-99CECCE70D0D}"/>
          </ac:spMkLst>
        </pc:spChg>
        <pc:spChg chg="add del mod">
          <ac:chgData name="Kellermann, Demian (CYS DEF OPS-DE)" userId="0961c1fd-f967-4660-b634-1c9ce6af0b19" providerId="ADAL" clId="{513664E0-C945-4B00-AC06-F205727D86B6}" dt="2023-09-28T13:46:44.245" v="2699" actId="478"/>
          <ac:spMkLst>
            <pc:docMk/>
            <pc:sldMk cId="800485257" sldId="1222"/>
            <ac:spMk id="8" creationId="{EFC0C152-D82D-7BF2-5250-937AB0E46949}"/>
          </ac:spMkLst>
        </pc:spChg>
        <pc:spChg chg="add del mod">
          <ac:chgData name="Kellermann, Demian (CYS DEF OPS-DE)" userId="0961c1fd-f967-4660-b634-1c9ce6af0b19" providerId="ADAL" clId="{513664E0-C945-4B00-AC06-F205727D86B6}" dt="2023-09-28T13:53:00.820" v="2704" actId="478"/>
          <ac:spMkLst>
            <pc:docMk/>
            <pc:sldMk cId="800485257" sldId="1222"/>
            <ac:spMk id="10" creationId="{F8F516C0-B50A-DCEA-97BA-2E728995490F}"/>
          </ac:spMkLst>
        </pc:spChg>
        <pc:spChg chg="add del mod">
          <ac:chgData name="Kellermann, Demian (CYS DEF OPS-DE)" userId="0961c1fd-f967-4660-b634-1c9ce6af0b19" providerId="ADAL" clId="{513664E0-C945-4B00-AC06-F205727D86B6}" dt="2023-09-28T14:06:16.444" v="3040" actId="478"/>
          <ac:spMkLst>
            <pc:docMk/>
            <pc:sldMk cId="800485257" sldId="1222"/>
            <ac:spMk id="12" creationId="{C5E3CDD9-5A25-8029-FE4A-9D4074834B73}"/>
          </ac:spMkLst>
        </pc:spChg>
        <pc:spChg chg="add del mod">
          <ac:chgData name="Kellermann, Demian (CYS DEF OPS-DE)" userId="0961c1fd-f967-4660-b634-1c9ce6af0b19" providerId="ADAL" clId="{513664E0-C945-4B00-AC06-F205727D86B6}" dt="2023-09-28T13:58:15.804" v="2822" actId="478"/>
          <ac:spMkLst>
            <pc:docMk/>
            <pc:sldMk cId="800485257" sldId="1222"/>
            <ac:spMk id="13" creationId="{9D878ACC-6EAD-17A0-8592-635C7563ED8C}"/>
          </ac:spMkLst>
        </pc:spChg>
        <pc:spChg chg="add del mod">
          <ac:chgData name="Kellermann, Demian (CYS DEF OPS-DE)" userId="0961c1fd-f967-4660-b634-1c9ce6af0b19" providerId="ADAL" clId="{513664E0-C945-4B00-AC06-F205727D86B6}" dt="2023-09-28T14:06:16.444" v="3040" actId="478"/>
          <ac:spMkLst>
            <pc:docMk/>
            <pc:sldMk cId="800485257" sldId="1222"/>
            <ac:spMk id="14" creationId="{45738E32-F950-74A4-2AFC-FD2BE9736610}"/>
          </ac:spMkLst>
        </pc:spChg>
        <pc:spChg chg="add mod">
          <ac:chgData name="Kellermann, Demian (CYS DEF OPS-DE)" userId="0961c1fd-f967-4660-b634-1c9ce6af0b19" providerId="ADAL" clId="{513664E0-C945-4B00-AC06-F205727D86B6}" dt="2023-09-29T09:07:23.579" v="4034" actId="1076"/>
          <ac:spMkLst>
            <pc:docMk/>
            <pc:sldMk cId="800485257" sldId="1222"/>
            <ac:spMk id="14" creationId="{93F6029B-01A3-965E-F49F-9B6EB89BD337}"/>
          </ac:spMkLst>
        </pc:spChg>
        <pc:spChg chg="add del mod">
          <ac:chgData name="Kellermann, Demian (CYS DEF OPS-DE)" userId="0961c1fd-f967-4660-b634-1c9ce6af0b19" providerId="ADAL" clId="{513664E0-C945-4B00-AC06-F205727D86B6}" dt="2023-09-28T14:06:16.444" v="3040" actId="478"/>
          <ac:spMkLst>
            <pc:docMk/>
            <pc:sldMk cId="800485257" sldId="1222"/>
            <ac:spMk id="15" creationId="{9945CF7E-06DE-F7CB-F0DD-112D557A2990}"/>
          </ac:spMkLst>
        </pc:spChg>
        <pc:spChg chg="add mod">
          <ac:chgData name="Kellermann, Demian (CYS DEF OPS-DE)" userId="0961c1fd-f967-4660-b634-1c9ce6af0b19" providerId="ADAL" clId="{513664E0-C945-4B00-AC06-F205727D86B6}" dt="2023-09-29T08:19:33.500" v="3948" actId="20577"/>
          <ac:spMkLst>
            <pc:docMk/>
            <pc:sldMk cId="800485257" sldId="1222"/>
            <ac:spMk id="15" creationId="{C83E0E44-5724-4F0F-7DAB-169F40EAE6F6}"/>
          </ac:spMkLst>
        </pc:spChg>
        <pc:spChg chg="add mod">
          <ac:chgData name="Kellermann, Demian (CYS DEF OPS-DE)" userId="0961c1fd-f967-4660-b634-1c9ce6af0b19" providerId="ADAL" clId="{513664E0-C945-4B00-AC06-F205727D86B6}" dt="2023-09-29T08:19:40.322" v="3951" actId="20577"/>
          <ac:spMkLst>
            <pc:docMk/>
            <pc:sldMk cId="800485257" sldId="1222"/>
            <ac:spMk id="16" creationId="{B512C8C1-F780-19FA-AF57-19C10EBBCF1B}"/>
          </ac:spMkLst>
        </pc:spChg>
        <pc:spChg chg="add del">
          <ac:chgData name="Kellermann, Demian (CYS DEF OPS-DE)" userId="0961c1fd-f967-4660-b634-1c9ce6af0b19" providerId="ADAL" clId="{513664E0-C945-4B00-AC06-F205727D86B6}" dt="2023-09-28T15:05:25.540" v="3376" actId="22"/>
          <ac:spMkLst>
            <pc:docMk/>
            <pc:sldMk cId="800485257" sldId="1222"/>
            <ac:spMk id="17" creationId="{E7521E69-021E-CFFE-18B8-9BF0BF6CF496}"/>
          </ac:spMkLst>
        </pc:spChg>
        <pc:spChg chg="add del mod topLvl">
          <ac:chgData name="Kellermann, Demian (CYS DEF OPS-DE)" userId="0961c1fd-f967-4660-b634-1c9ce6af0b19" providerId="ADAL" clId="{513664E0-C945-4B00-AC06-F205727D86B6}" dt="2023-09-29T08:04:19.553" v="3594" actId="478"/>
          <ac:spMkLst>
            <pc:docMk/>
            <pc:sldMk cId="800485257" sldId="1222"/>
            <ac:spMk id="18" creationId="{997CB86F-0B5A-37F4-3D7A-AF6CE5D3A745}"/>
          </ac:spMkLst>
        </pc:spChg>
        <pc:spChg chg="add del mod topLvl">
          <ac:chgData name="Kellermann, Demian (CYS DEF OPS-DE)" userId="0961c1fd-f967-4660-b634-1c9ce6af0b19" providerId="ADAL" clId="{513664E0-C945-4B00-AC06-F205727D86B6}" dt="2023-09-29T08:04:19.553" v="3594" actId="478"/>
          <ac:spMkLst>
            <pc:docMk/>
            <pc:sldMk cId="800485257" sldId="1222"/>
            <ac:spMk id="19" creationId="{19FBD366-0C39-7F4B-DBE8-8732E07E8477}"/>
          </ac:spMkLst>
        </pc:spChg>
        <pc:spChg chg="add del mod topLvl">
          <ac:chgData name="Kellermann, Demian (CYS DEF OPS-DE)" userId="0961c1fd-f967-4660-b634-1c9ce6af0b19" providerId="ADAL" clId="{513664E0-C945-4B00-AC06-F205727D86B6}" dt="2023-09-29T08:04:19.553" v="3594" actId="478"/>
          <ac:spMkLst>
            <pc:docMk/>
            <pc:sldMk cId="800485257" sldId="1222"/>
            <ac:spMk id="20" creationId="{04C74311-A189-79D8-F7FF-E7B09FE1F0B4}"/>
          </ac:spMkLst>
        </pc:spChg>
        <pc:spChg chg="add del mod topLvl">
          <ac:chgData name="Kellermann, Demian (CYS DEF OPS-DE)" userId="0961c1fd-f967-4660-b634-1c9ce6af0b19" providerId="ADAL" clId="{513664E0-C945-4B00-AC06-F205727D86B6}" dt="2023-09-29T08:04:19.553" v="3594" actId="478"/>
          <ac:spMkLst>
            <pc:docMk/>
            <pc:sldMk cId="800485257" sldId="1222"/>
            <ac:spMk id="21" creationId="{84133078-9E8E-19DE-E25F-4FF0C0522B3C}"/>
          </ac:spMkLst>
        </pc:spChg>
        <pc:spChg chg="add del mod topLvl">
          <ac:chgData name="Kellermann, Demian (CYS DEF OPS-DE)" userId="0961c1fd-f967-4660-b634-1c9ce6af0b19" providerId="ADAL" clId="{513664E0-C945-4B00-AC06-F205727D86B6}" dt="2023-09-29T08:04:19.553" v="3594" actId="478"/>
          <ac:spMkLst>
            <pc:docMk/>
            <pc:sldMk cId="800485257" sldId="1222"/>
            <ac:spMk id="22" creationId="{0CFE5CAA-2FCE-929D-0340-32EB817E7908}"/>
          </ac:spMkLst>
        </pc:spChg>
        <pc:spChg chg="add del mod topLvl">
          <ac:chgData name="Kellermann, Demian (CYS DEF OPS-DE)" userId="0961c1fd-f967-4660-b634-1c9ce6af0b19" providerId="ADAL" clId="{513664E0-C945-4B00-AC06-F205727D86B6}" dt="2023-09-29T08:04:19.553" v="3594" actId="478"/>
          <ac:spMkLst>
            <pc:docMk/>
            <pc:sldMk cId="800485257" sldId="1222"/>
            <ac:spMk id="23" creationId="{35B0D31A-4249-D546-C49E-A705E17F687B}"/>
          </ac:spMkLst>
        </pc:spChg>
        <pc:spChg chg="add del mod topLvl">
          <ac:chgData name="Kellermann, Demian (CYS DEF OPS-DE)" userId="0961c1fd-f967-4660-b634-1c9ce6af0b19" providerId="ADAL" clId="{513664E0-C945-4B00-AC06-F205727D86B6}" dt="2023-09-29T08:04:19.553" v="3594" actId="478"/>
          <ac:spMkLst>
            <pc:docMk/>
            <pc:sldMk cId="800485257" sldId="1222"/>
            <ac:spMk id="24" creationId="{E5FF7272-ADC9-04D8-EA28-C98EEC3483BD}"/>
          </ac:spMkLst>
        </pc:spChg>
        <pc:spChg chg="add del mod topLvl">
          <ac:chgData name="Kellermann, Demian (CYS DEF OPS-DE)" userId="0961c1fd-f967-4660-b634-1c9ce6af0b19" providerId="ADAL" clId="{513664E0-C945-4B00-AC06-F205727D86B6}" dt="2023-09-29T08:04:19.553" v="3594" actId="478"/>
          <ac:spMkLst>
            <pc:docMk/>
            <pc:sldMk cId="800485257" sldId="1222"/>
            <ac:spMk id="25" creationId="{F6F5FA8F-B091-CD91-5B0D-30E52EAD3EEA}"/>
          </ac:spMkLst>
        </pc:spChg>
        <pc:spChg chg="add del mod topLvl">
          <ac:chgData name="Kellermann, Demian (CYS DEF OPS-DE)" userId="0961c1fd-f967-4660-b634-1c9ce6af0b19" providerId="ADAL" clId="{513664E0-C945-4B00-AC06-F205727D86B6}" dt="2023-09-29T08:04:19.553" v="3594" actId="478"/>
          <ac:spMkLst>
            <pc:docMk/>
            <pc:sldMk cId="800485257" sldId="1222"/>
            <ac:spMk id="26" creationId="{FE580E0A-76CC-F432-A171-B441555D1154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28" creationId="{D6C7FCE5-4C61-8EC1-4D79-C73586C9B57D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29" creationId="{9D609574-685C-E6EE-17B8-1773E84AE81D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30" creationId="{1D1872BE-8394-76B6-D2A9-8FCBF2515B13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1027" creationId="{2DCCA428-3DEF-B9FA-343B-587D7A747192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1028" creationId="{2D8FE5F6-2DFE-5CCC-5038-B19BEA1FCF0F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1029" creationId="{2189BE73-A810-D315-81BF-FE9E72748DED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1030" creationId="{BBBDC6F4-9870-CD6F-F714-246B2E0EAD9D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1031" creationId="{D3161C29-CC0E-B113-BCC8-445967C178E1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1032" creationId="{0A83E9FC-057A-5FF1-CFCF-2D4081EE2966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1033" creationId="{35CC3089-E049-2007-C862-63F1B553FB18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1034" creationId="{672CC6E8-E0F8-CC49-A1F9-25FD8395665E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1035" creationId="{E5799CF4-26B4-8913-29D7-B245B6BCB06C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1036" creationId="{EEE6BC8A-0FD3-4C37-379A-C4FE7DB2F355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1037" creationId="{578FE20F-EF98-00FB-5FC0-509D1577D8DE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1038" creationId="{B7D0B938-0D17-BAE5-48EA-41D7F8945296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1039" creationId="{1B515A9D-6B7C-50F8-B188-8363E1A8815E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1040" creationId="{9D9754DB-A5E3-611C-301E-996951B041FD}"/>
          </ac:spMkLst>
        </pc:spChg>
        <pc:spChg chg="mod">
          <ac:chgData name="Kellermann, Demian (CYS DEF OPS-DE)" userId="0961c1fd-f967-4660-b634-1c9ce6af0b19" providerId="ADAL" clId="{513664E0-C945-4B00-AC06-F205727D86B6}" dt="2023-09-28T15:32:03.082" v="3522" actId="165"/>
          <ac:spMkLst>
            <pc:docMk/>
            <pc:sldMk cId="800485257" sldId="1222"/>
            <ac:spMk id="1041" creationId="{A1478912-C32B-1FB2-6A6D-9907365D8D53}"/>
          </ac:spMkLst>
        </pc:spChg>
        <pc:spChg chg="add del mod topLvl">
          <ac:chgData name="Kellermann, Demian (CYS DEF OPS-DE)" userId="0961c1fd-f967-4660-b634-1c9ce6af0b19" providerId="ADAL" clId="{513664E0-C945-4B00-AC06-F205727D86B6}" dt="2023-09-29T08:04:19.553" v="3594" actId="478"/>
          <ac:spMkLst>
            <pc:docMk/>
            <pc:sldMk cId="800485257" sldId="1222"/>
            <ac:spMk id="1042" creationId="{5192B4F4-2ECA-7FF2-A6AB-327A5664E0FD}"/>
          </ac:spMkLst>
        </pc:spChg>
        <pc:spChg chg="add del mod topLvl">
          <ac:chgData name="Kellermann, Demian (CYS DEF OPS-DE)" userId="0961c1fd-f967-4660-b634-1c9ce6af0b19" providerId="ADAL" clId="{513664E0-C945-4B00-AC06-F205727D86B6}" dt="2023-09-29T08:04:19.553" v="3594" actId="478"/>
          <ac:spMkLst>
            <pc:docMk/>
            <pc:sldMk cId="800485257" sldId="1222"/>
            <ac:spMk id="1043" creationId="{66D935BF-3AF4-645D-F1D7-6AC18BC7E7EB}"/>
          </ac:spMkLst>
        </pc:spChg>
        <pc:spChg chg="add del mod topLvl">
          <ac:chgData name="Kellermann, Demian (CYS DEF OPS-DE)" userId="0961c1fd-f967-4660-b634-1c9ce6af0b19" providerId="ADAL" clId="{513664E0-C945-4B00-AC06-F205727D86B6}" dt="2023-09-29T08:04:19.553" v="3594" actId="478"/>
          <ac:spMkLst>
            <pc:docMk/>
            <pc:sldMk cId="800485257" sldId="1222"/>
            <ac:spMk id="1044" creationId="{30408900-777E-0BD5-78D8-210E806F58F6}"/>
          </ac:spMkLst>
        </pc:spChg>
        <pc:spChg chg="add del mod topLvl">
          <ac:chgData name="Kellermann, Demian (CYS DEF OPS-DE)" userId="0961c1fd-f967-4660-b634-1c9ce6af0b19" providerId="ADAL" clId="{513664E0-C945-4B00-AC06-F205727D86B6}" dt="2023-09-29T08:04:19.553" v="3594" actId="478"/>
          <ac:spMkLst>
            <pc:docMk/>
            <pc:sldMk cId="800485257" sldId="1222"/>
            <ac:spMk id="1045" creationId="{52766729-A175-A441-C816-B31596F59DEB}"/>
          </ac:spMkLst>
        </pc:spChg>
        <pc:spChg chg="add del mod topLvl">
          <ac:chgData name="Kellermann, Demian (CYS DEF OPS-DE)" userId="0961c1fd-f967-4660-b634-1c9ce6af0b19" providerId="ADAL" clId="{513664E0-C945-4B00-AC06-F205727D86B6}" dt="2023-09-29T08:04:19.553" v="3594" actId="478"/>
          <ac:spMkLst>
            <pc:docMk/>
            <pc:sldMk cId="800485257" sldId="1222"/>
            <ac:spMk id="1049" creationId="{C09D19F7-0091-88ED-AF60-B90BE188BB65}"/>
          </ac:spMkLst>
        </pc:spChg>
        <pc:spChg chg="add del mod topLvl">
          <ac:chgData name="Kellermann, Demian (CYS DEF OPS-DE)" userId="0961c1fd-f967-4660-b634-1c9ce6af0b19" providerId="ADAL" clId="{513664E0-C945-4B00-AC06-F205727D86B6}" dt="2023-09-29T08:04:19.553" v="3594" actId="478"/>
          <ac:spMkLst>
            <pc:docMk/>
            <pc:sldMk cId="800485257" sldId="1222"/>
            <ac:spMk id="1074" creationId="{876753D9-BCBC-508B-9332-4985282847CD}"/>
          </ac:spMkLst>
        </pc:spChg>
        <pc:spChg chg="add del mod">
          <ac:chgData name="Kellermann, Demian (CYS DEF OPS-DE)" userId="0961c1fd-f967-4660-b634-1c9ce6af0b19" providerId="ADAL" clId="{513664E0-C945-4B00-AC06-F205727D86B6}" dt="2023-09-28T15:06:28.108" v="3393" actId="478"/>
          <ac:spMkLst>
            <pc:docMk/>
            <pc:sldMk cId="800485257" sldId="1222"/>
            <ac:spMk id="1075" creationId="{7AD5A558-CE38-30ED-16CB-F56D2DD44D8E}"/>
          </ac:spMkLst>
        </pc:spChg>
        <pc:spChg chg="add del">
          <ac:chgData name="Kellermann, Demian (CYS DEF OPS-DE)" userId="0961c1fd-f967-4660-b634-1c9ce6af0b19" providerId="ADAL" clId="{513664E0-C945-4B00-AC06-F205727D86B6}" dt="2023-09-28T15:11:22.159" v="3463" actId="22"/>
          <ac:spMkLst>
            <pc:docMk/>
            <pc:sldMk cId="800485257" sldId="1222"/>
            <ac:spMk id="1077" creationId="{96169203-1358-041A-3957-99B57CA70A41}"/>
          </ac:spMkLst>
        </pc:spChg>
        <pc:spChg chg="add del">
          <ac:chgData name="Kellermann, Demian (CYS DEF OPS-DE)" userId="0961c1fd-f967-4660-b634-1c9ce6af0b19" providerId="ADAL" clId="{513664E0-C945-4B00-AC06-F205727D86B6}" dt="2023-09-28T15:12:28.319" v="3469" actId="478"/>
          <ac:spMkLst>
            <pc:docMk/>
            <pc:sldMk cId="800485257" sldId="1222"/>
            <ac:spMk id="1078" creationId="{22C0CB32-8F01-3347-528F-8969093F1CB3}"/>
          </ac:spMkLst>
        </pc:spChg>
        <pc:spChg chg="add del">
          <ac:chgData name="Kellermann, Demian (CYS DEF OPS-DE)" userId="0961c1fd-f967-4660-b634-1c9ce6af0b19" providerId="ADAL" clId="{513664E0-C945-4B00-AC06-F205727D86B6}" dt="2023-09-28T15:12:30.065" v="3471"/>
          <ac:spMkLst>
            <pc:docMk/>
            <pc:sldMk cId="800485257" sldId="1222"/>
            <ac:spMk id="1079" creationId="{5C69DC44-4F40-B1CE-A525-57BB2FE25689}"/>
          </ac:spMkLst>
        </pc:spChg>
        <pc:spChg chg="add del">
          <ac:chgData name="Kellermann, Demian (CYS DEF OPS-DE)" userId="0961c1fd-f967-4660-b634-1c9ce6af0b19" providerId="ADAL" clId="{513664E0-C945-4B00-AC06-F205727D86B6}" dt="2023-09-28T15:12:36.503" v="3473"/>
          <ac:spMkLst>
            <pc:docMk/>
            <pc:sldMk cId="800485257" sldId="1222"/>
            <ac:spMk id="1080" creationId="{C8F509AD-C25A-6251-61A2-44000239F68B}"/>
          </ac:spMkLst>
        </pc:spChg>
        <pc:spChg chg="add del">
          <ac:chgData name="Kellermann, Demian (CYS DEF OPS-DE)" userId="0961c1fd-f967-4660-b634-1c9ce6af0b19" providerId="ADAL" clId="{513664E0-C945-4B00-AC06-F205727D86B6}" dt="2023-09-28T15:14:39.679" v="3481" actId="22"/>
          <ac:spMkLst>
            <pc:docMk/>
            <pc:sldMk cId="800485257" sldId="1222"/>
            <ac:spMk id="1082" creationId="{AC96D7AA-5854-01C2-A27D-421D015CEF5E}"/>
          </ac:spMkLst>
        </pc:spChg>
        <pc:spChg chg="add del">
          <ac:chgData name="Kellermann, Demian (CYS DEF OPS-DE)" userId="0961c1fd-f967-4660-b634-1c9ce6af0b19" providerId="ADAL" clId="{513664E0-C945-4B00-AC06-F205727D86B6}" dt="2023-09-28T15:16:54.111" v="3498" actId="22"/>
          <ac:spMkLst>
            <pc:docMk/>
            <pc:sldMk cId="800485257" sldId="1222"/>
            <ac:spMk id="1084" creationId="{C254156F-E43C-C0D2-D2C1-37C99E283275}"/>
          </ac:spMkLst>
        </pc:spChg>
        <pc:spChg chg="add del">
          <ac:chgData name="Kellermann, Demian (CYS DEF OPS-DE)" userId="0961c1fd-f967-4660-b634-1c9ce6af0b19" providerId="ADAL" clId="{513664E0-C945-4B00-AC06-F205727D86B6}" dt="2023-09-28T15:32:22.518" v="3524" actId="22"/>
          <ac:spMkLst>
            <pc:docMk/>
            <pc:sldMk cId="800485257" sldId="1222"/>
            <ac:spMk id="1087" creationId="{5EB3785F-8B4B-41C2-2762-F37339E7CBBA}"/>
          </ac:spMkLst>
        </pc:spChg>
        <pc:spChg chg="add mod">
          <ac:chgData name="Kellermann, Demian (CYS DEF OPS-DE)" userId="0961c1fd-f967-4660-b634-1c9ce6af0b19" providerId="ADAL" clId="{513664E0-C945-4B00-AC06-F205727D86B6}" dt="2023-09-29T08:20:36.212" v="3970" actId="2711"/>
          <ac:spMkLst>
            <pc:docMk/>
            <pc:sldMk cId="800485257" sldId="1222"/>
            <ac:spMk id="4097" creationId="{65F3427B-D227-C1E5-74C9-0F1623123AB8}"/>
          </ac:spMkLst>
        </pc:spChg>
        <pc:spChg chg="add mod">
          <ac:chgData name="Kellermann, Demian (CYS DEF OPS-DE)" userId="0961c1fd-f967-4660-b634-1c9ce6af0b19" providerId="ADAL" clId="{513664E0-C945-4B00-AC06-F205727D86B6}" dt="2023-09-29T08:22:01.765" v="3985" actId="20577"/>
          <ac:spMkLst>
            <pc:docMk/>
            <pc:sldMk cId="800485257" sldId="1222"/>
            <ac:spMk id="4101" creationId="{9F9ADBC1-CE54-D96B-262E-01F3D743F0F9}"/>
          </ac:spMkLst>
        </pc:spChg>
        <pc:spChg chg="add del mod ord">
          <ac:chgData name="Kellermann, Demian (CYS DEF OPS-DE)" userId="0961c1fd-f967-4660-b634-1c9ce6af0b19" providerId="ADAL" clId="{513664E0-C945-4B00-AC06-F205727D86B6}" dt="2023-09-29T08:31:06.348" v="4021" actId="478"/>
          <ac:spMkLst>
            <pc:docMk/>
            <pc:sldMk cId="800485257" sldId="1222"/>
            <ac:spMk id="4102" creationId="{57B1D86E-71E1-B41E-5450-3D410D42F9FA}"/>
          </ac:spMkLst>
        </pc:spChg>
        <pc:spChg chg="add del mod ord">
          <ac:chgData name="Kellermann, Demian (CYS DEF OPS-DE)" userId="0961c1fd-f967-4660-b634-1c9ce6af0b19" providerId="ADAL" clId="{513664E0-C945-4B00-AC06-F205727D86B6}" dt="2023-09-29T08:31:04.915" v="4019" actId="478"/>
          <ac:spMkLst>
            <pc:docMk/>
            <pc:sldMk cId="800485257" sldId="1222"/>
            <ac:spMk id="4103" creationId="{39F7311B-D1F9-7AD1-531B-35BEF064BFF1}"/>
          </ac:spMkLst>
        </pc:spChg>
        <pc:spChg chg="add del mod ord">
          <ac:chgData name="Kellermann, Demian (CYS DEF OPS-DE)" userId="0961c1fd-f967-4660-b634-1c9ce6af0b19" providerId="ADAL" clId="{513664E0-C945-4B00-AC06-F205727D86B6}" dt="2023-09-29T08:31:05.474" v="4020" actId="478"/>
          <ac:spMkLst>
            <pc:docMk/>
            <pc:sldMk cId="800485257" sldId="1222"/>
            <ac:spMk id="4104" creationId="{9E095DCF-5D0A-4361-553A-77BABAF18E1D}"/>
          </ac:spMkLst>
        </pc:spChg>
        <pc:spChg chg="add mod">
          <ac:chgData name="Kellermann, Demian (CYS DEF OPS-DE)" userId="0961c1fd-f967-4660-b634-1c9ce6af0b19" providerId="ADAL" clId="{513664E0-C945-4B00-AC06-F205727D86B6}" dt="2023-09-29T09:07:51.634" v="4035" actId="1076"/>
          <ac:spMkLst>
            <pc:docMk/>
            <pc:sldMk cId="800485257" sldId="1222"/>
            <ac:spMk id="4105" creationId="{6B8858A6-B434-B016-F00C-3D681EA6F938}"/>
          </ac:spMkLst>
        </pc:spChg>
        <pc:spChg chg="add mod">
          <ac:chgData name="Kellermann, Demian (CYS DEF OPS-DE)" userId="0961c1fd-f967-4660-b634-1c9ce6af0b19" providerId="ADAL" clId="{513664E0-C945-4B00-AC06-F205727D86B6}" dt="2023-09-29T09:08:02.704" v="4036" actId="1076"/>
          <ac:spMkLst>
            <pc:docMk/>
            <pc:sldMk cId="800485257" sldId="1222"/>
            <ac:spMk id="4107" creationId="{C1EC29F4-49F8-C065-5567-3208B3F3ACB3}"/>
          </ac:spMkLst>
        </pc:spChg>
        <pc:spChg chg="add mod">
          <ac:chgData name="Kellermann, Demian (CYS DEF OPS-DE)" userId="0961c1fd-f967-4660-b634-1c9ce6af0b19" providerId="ADAL" clId="{513664E0-C945-4B00-AC06-F205727D86B6}" dt="2023-09-29T09:07:08.584" v="4030" actId="1076"/>
          <ac:spMkLst>
            <pc:docMk/>
            <pc:sldMk cId="800485257" sldId="1222"/>
            <ac:spMk id="4109" creationId="{933C6499-96DC-0ACC-EA70-1A544373525D}"/>
          </ac:spMkLst>
        </pc:spChg>
        <pc:spChg chg="add mod">
          <ac:chgData name="Kellermann, Demian (CYS DEF OPS-DE)" userId="0961c1fd-f967-4660-b634-1c9ce6af0b19" providerId="ADAL" clId="{513664E0-C945-4B00-AC06-F205727D86B6}" dt="2023-09-29T09:07:17.062" v="4033" actId="1076"/>
          <ac:spMkLst>
            <pc:docMk/>
            <pc:sldMk cId="800485257" sldId="1222"/>
            <ac:spMk id="4111" creationId="{4BB206AF-A547-F33E-E80B-42D0C8C15A60}"/>
          </ac:spMkLst>
        </pc:spChg>
        <pc:spChg chg="add mod">
          <ac:chgData name="Kellermann, Demian (CYS DEF OPS-DE)" userId="0961c1fd-f967-4660-b634-1c9ce6af0b19" providerId="ADAL" clId="{513664E0-C945-4B00-AC06-F205727D86B6}" dt="2023-09-29T09:35:23.648" v="4768" actId="6549"/>
          <ac:spMkLst>
            <pc:docMk/>
            <pc:sldMk cId="800485257" sldId="1222"/>
            <ac:spMk id="4112" creationId="{0B8EEAF0-A39D-B831-7456-A875102BCE53}"/>
          </ac:spMkLst>
        </pc:spChg>
        <pc:spChg chg="add mod">
          <ac:chgData name="Kellermann, Demian (CYS DEF OPS-DE)" userId="0961c1fd-f967-4660-b634-1c9ce6af0b19" providerId="ADAL" clId="{513664E0-C945-4B00-AC06-F205727D86B6}" dt="2023-09-29T09:35:24.559" v="4769" actId="6549"/>
          <ac:spMkLst>
            <pc:docMk/>
            <pc:sldMk cId="800485257" sldId="1222"/>
            <ac:spMk id="4113" creationId="{3311CDEF-460A-087A-544C-0AB99C257D55}"/>
          </ac:spMkLst>
        </pc:spChg>
        <pc:spChg chg="add del mod">
          <ac:chgData name="Kellermann, Demian (CYS DEF OPS-DE)" userId="0961c1fd-f967-4660-b634-1c9ce6af0b19" providerId="ADAL" clId="{513664E0-C945-4B00-AC06-F205727D86B6}" dt="2023-09-29T09:38:27.261" v="4979" actId="478"/>
          <ac:spMkLst>
            <pc:docMk/>
            <pc:sldMk cId="800485257" sldId="1222"/>
            <ac:spMk id="4115" creationId="{281392EB-17A8-624E-C63D-C3455E4F2860}"/>
          </ac:spMkLst>
        </pc:spChg>
        <pc:spChg chg="add del mod">
          <ac:chgData name="Kellermann, Demian (CYS DEF OPS-DE)" userId="0961c1fd-f967-4660-b634-1c9ce6af0b19" providerId="ADAL" clId="{513664E0-C945-4B00-AC06-F205727D86B6}" dt="2023-09-29T09:38:27.261" v="4979" actId="478"/>
          <ac:spMkLst>
            <pc:docMk/>
            <pc:sldMk cId="800485257" sldId="1222"/>
            <ac:spMk id="4117" creationId="{A0BB4768-225C-0766-2CDC-789D07782D1D}"/>
          </ac:spMkLst>
        </pc:spChg>
        <pc:spChg chg="add del mod">
          <ac:chgData name="Kellermann, Demian (CYS DEF OPS-DE)" userId="0961c1fd-f967-4660-b634-1c9ce6af0b19" providerId="ADAL" clId="{513664E0-C945-4B00-AC06-F205727D86B6}" dt="2023-09-29T09:38:27.261" v="4979" actId="478"/>
          <ac:spMkLst>
            <pc:docMk/>
            <pc:sldMk cId="800485257" sldId="1222"/>
            <ac:spMk id="4118" creationId="{C17DBB16-31CF-8AEA-7003-5EB64B6DA74E}"/>
          </ac:spMkLst>
        </pc:spChg>
        <pc:spChg chg="add mod">
          <ac:chgData name="Kellermann, Demian (CYS DEF OPS-DE)" userId="0961c1fd-f967-4660-b634-1c9ce6af0b19" providerId="ADAL" clId="{513664E0-C945-4B00-AC06-F205727D86B6}" dt="2023-09-29T09:34:52.253" v="4749" actId="14100"/>
          <ac:spMkLst>
            <pc:docMk/>
            <pc:sldMk cId="800485257" sldId="1222"/>
            <ac:spMk id="4119" creationId="{402CB62B-CFCB-A437-E839-3D86082E4AB9}"/>
          </ac:spMkLst>
        </pc:spChg>
        <pc:spChg chg="add mod">
          <ac:chgData name="Kellermann, Demian (CYS DEF OPS-DE)" userId="0961c1fd-f967-4660-b634-1c9ce6af0b19" providerId="ADAL" clId="{513664E0-C945-4B00-AC06-F205727D86B6}" dt="2023-09-29T09:47:28.246" v="4992" actId="6549"/>
          <ac:spMkLst>
            <pc:docMk/>
            <pc:sldMk cId="800485257" sldId="1222"/>
            <ac:spMk id="4120" creationId="{05545F7A-6320-EEED-AF4F-F1B4FF49E9C1}"/>
          </ac:spMkLst>
        </pc:spChg>
        <pc:grpChg chg="add del mod topLvl">
          <ac:chgData name="Kellermann, Demian (CYS DEF OPS-DE)" userId="0961c1fd-f967-4660-b634-1c9ce6af0b19" providerId="ADAL" clId="{513664E0-C945-4B00-AC06-F205727D86B6}" dt="2023-09-29T08:04:19.553" v="3594" actId="478"/>
          <ac:grpSpMkLst>
            <pc:docMk/>
            <pc:sldMk cId="800485257" sldId="1222"/>
            <ac:grpSpMk id="27" creationId="{8EF9CC22-78F8-BBFA-C962-5AF1A65ED634}"/>
          </ac:grpSpMkLst>
        </pc:grpChg>
        <pc:grpChg chg="mod">
          <ac:chgData name="Kellermann, Demian (CYS DEF OPS-DE)" userId="0961c1fd-f967-4660-b634-1c9ce6af0b19" providerId="ADAL" clId="{513664E0-C945-4B00-AC06-F205727D86B6}" dt="2023-09-28T15:32:03.082" v="3522" actId="165"/>
          <ac:grpSpMkLst>
            <pc:docMk/>
            <pc:sldMk cId="800485257" sldId="1222"/>
            <ac:grpSpMk id="31" creationId="{5F3A62A7-662E-BA81-4090-CC2AD2C18E86}"/>
          </ac:grpSpMkLst>
        </pc:grpChg>
        <pc:grpChg chg="mod">
          <ac:chgData name="Kellermann, Demian (CYS DEF OPS-DE)" userId="0961c1fd-f967-4660-b634-1c9ce6af0b19" providerId="ADAL" clId="{513664E0-C945-4B00-AC06-F205727D86B6}" dt="2023-09-28T15:32:03.082" v="3522" actId="165"/>
          <ac:grpSpMkLst>
            <pc:docMk/>
            <pc:sldMk cId="800485257" sldId="1222"/>
            <ac:grpSpMk id="1024" creationId="{170E0071-5F29-4374-4A79-B4E9314D4B21}"/>
          </ac:grpSpMkLst>
        </pc:grpChg>
        <pc:grpChg chg="mod">
          <ac:chgData name="Kellermann, Demian (CYS DEF OPS-DE)" userId="0961c1fd-f967-4660-b634-1c9ce6af0b19" providerId="ADAL" clId="{513664E0-C945-4B00-AC06-F205727D86B6}" dt="2023-09-28T15:32:03.082" v="3522" actId="165"/>
          <ac:grpSpMkLst>
            <pc:docMk/>
            <pc:sldMk cId="800485257" sldId="1222"/>
            <ac:grpSpMk id="1025" creationId="{B53510DE-EDB2-A9C3-95C1-D2887998934D}"/>
          </ac:grpSpMkLst>
        </pc:grpChg>
        <pc:grpChg chg="add del mod">
          <ac:chgData name="Kellermann, Demian (CYS DEF OPS-DE)" userId="0961c1fd-f967-4660-b634-1c9ce6af0b19" providerId="ADAL" clId="{513664E0-C945-4B00-AC06-F205727D86B6}" dt="2023-09-28T15:32:03.082" v="3522" actId="165"/>
          <ac:grpSpMkLst>
            <pc:docMk/>
            <pc:sldMk cId="800485257" sldId="1222"/>
            <ac:grpSpMk id="1085" creationId="{D303CE8B-47E8-2CEE-870B-316308CD0468}"/>
          </ac:grpSpMkLst>
        </pc:grpChg>
        <pc:picChg chg="add mod">
          <ac:chgData name="Kellermann, Demian (CYS DEF OPS-DE)" userId="0961c1fd-f967-4660-b634-1c9ce6af0b19" providerId="ADAL" clId="{513664E0-C945-4B00-AC06-F205727D86B6}" dt="2023-09-29T08:17:16.997" v="3907" actId="1076"/>
          <ac:picMkLst>
            <pc:docMk/>
            <pc:sldMk cId="800485257" sldId="1222"/>
            <ac:picMk id="9" creationId="{98FB5780-6248-6A92-80B4-C5975E02B201}"/>
          </ac:picMkLst>
        </pc:picChg>
        <pc:picChg chg="add mod">
          <ac:chgData name="Kellermann, Demian (CYS DEF OPS-DE)" userId="0961c1fd-f967-4660-b634-1c9ce6af0b19" providerId="ADAL" clId="{513664E0-C945-4B00-AC06-F205727D86B6}" dt="2023-09-29T08:17:36.978" v="3911" actId="1076"/>
          <ac:picMkLst>
            <pc:docMk/>
            <pc:sldMk cId="800485257" sldId="1222"/>
            <ac:picMk id="11" creationId="{D4E68CD8-A9E7-7D44-4BA8-CB3F5BBBEF2C}"/>
          </ac:picMkLst>
        </pc:picChg>
        <pc:picChg chg="add mod">
          <ac:chgData name="Kellermann, Demian (CYS DEF OPS-DE)" userId="0961c1fd-f967-4660-b634-1c9ce6af0b19" providerId="ADAL" clId="{513664E0-C945-4B00-AC06-F205727D86B6}" dt="2023-09-29T08:17:33.102" v="3910" actId="1076"/>
          <ac:picMkLst>
            <pc:docMk/>
            <pc:sldMk cId="800485257" sldId="1222"/>
            <ac:picMk id="13" creationId="{B7CFCE90-8666-830D-1F41-76615C685969}"/>
          </ac:picMkLst>
        </pc:picChg>
        <pc:picChg chg="del mod">
          <ac:chgData name="Kellermann, Demian (CYS DEF OPS-DE)" userId="0961c1fd-f967-4660-b634-1c9ce6af0b19" providerId="ADAL" clId="{513664E0-C945-4B00-AC06-F205727D86B6}" dt="2023-09-28T14:52:55.438" v="3315" actId="478"/>
          <ac:picMkLst>
            <pc:docMk/>
            <pc:sldMk cId="800485257" sldId="1222"/>
            <ac:picMk id="1026" creationId="{D754EB09-5D57-9149-4AAD-1CDEF4E347D0}"/>
          </ac:picMkLst>
        </pc:picChg>
        <pc:picChg chg="add mod">
          <ac:chgData name="Kellermann, Demian (CYS DEF OPS-DE)" userId="0961c1fd-f967-4660-b634-1c9ce6af0b19" providerId="ADAL" clId="{513664E0-C945-4B00-AC06-F205727D86B6}" dt="2023-09-29T08:20:15.991" v="3955" actId="1076"/>
          <ac:picMkLst>
            <pc:docMk/>
            <pc:sldMk cId="800485257" sldId="1222"/>
            <ac:picMk id="4096" creationId="{3D5FC6EC-120E-A79D-D4C8-E901A574DEF3}"/>
          </ac:picMkLst>
        </pc:picChg>
        <pc:picChg chg="add del mod topLvl">
          <ac:chgData name="Kellermann, Demian (CYS DEF OPS-DE)" userId="0961c1fd-f967-4660-b634-1c9ce6af0b19" providerId="ADAL" clId="{513664E0-C945-4B00-AC06-F205727D86B6}" dt="2023-09-29T08:04:19.553" v="3594" actId="478"/>
          <ac:picMkLst>
            <pc:docMk/>
            <pc:sldMk cId="800485257" sldId="1222"/>
            <ac:picMk id="4098" creationId="{30047567-074D-823B-D9B6-2F0CD41CD625}"/>
          </ac:picMkLst>
        </pc:picChg>
        <pc:picChg chg="add mod">
          <ac:chgData name="Kellermann, Demian (CYS DEF OPS-DE)" userId="0961c1fd-f967-4660-b634-1c9ce6af0b19" providerId="ADAL" clId="{513664E0-C945-4B00-AC06-F205727D86B6}" dt="2023-09-29T08:21:43.163" v="3974" actId="1076"/>
          <ac:picMkLst>
            <pc:docMk/>
            <pc:sldMk cId="800485257" sldId="1222"/>
            <ac:picMk id="4100" creationId="{074E33AD-E8D8-7A6E-40D9-3378D026B75A}"/>
          </ac:picMkLst>
        </pc:picChg>
        <pc:picChg chg="add del mod topLvl">
          <ac:chgData name="Kellermann, Demian (CYS DEF OPS-DE)" userId="0961c1fd-f967-4660-b634-1c9ce6af0b19" providerId="ADAL" clId="{513664E0-C945-4B00-AC06-F205727D86B6}" dt="2023-09-29T08:04:19.553" v="3594" actId="478"/>
          <ac:picMkLst>
            <pc:docMk/>
            <pc:sldMk cId="800485257" sldId="1222"/>
            <ac:picMk id="4106" creationId="{1397B513-8D25-FCD3-535F-12279131EB20}"/>
          </ac:picMkLst>
        </pc:picChg>
        <pc:picChg chg="add del mod topLvl">
          <ac:chgData name="Kellermann, Demian (CYS DEF OPS-DE)" userId="0961c1fd-f967-4660-b634-1c9ce6af0b19" providerId="ADAL" clId="{513664E0-C945-4B00-AC06-F205727D86B6}" dt="2023-09-29T08:04:19.553" v="3594" actId="478"/>
          <ac:picMkLst>
            <pc:docMk/>
            <pc:sldMk cId="800485257" sldId="1222"/>
            <ac:picMk id="4108" creationId="{5ED8430F-CFEE-1C9D-ED07-1DECAA80A10B}"/>
          </ac:picMkLst>
        </pc:picChg>
        <pc:picChg chg="add del mod topLvl">
          <ac:chgData name="Kellermann, Demian (CYS DEF OPS-DE)" userId="0961c1fd-f967-4660-b634-1c9ce6af0b19" providerId="ADAL" clId="{513664E0-C945-4B00-AC06-F205727D86B6}" dt="2023-09-29T08:04:19.553" v="3594" actId="478"/>
          <ac:picMkLst>
            <pc:docMk/>
            <pc:sldMk cId="800485257" sldId="1222"/>
            <ac:picMk id="4110" creationId="{847BB550-7B2A-8EC8-1195-EB6CDB314337}"/>
          </ac:picMkLst>
        </pc:picChg>
        <pc:picChg chg="add del mod topLvl">
          <ac:chgData name="Kellermann, Demian (CYS DEF OPS-DE)" userId="0961c1fd-f967-4660-b634-1c9ce6af0b19" providerId="ADAL" clId="{513664E0-C945-4B00-AC06-F205727D86B6}" dt="2023-09-28T15:32:39.241" v="3526" actId="478"/>
          <ac:picMkLst>
            <pc:docMk/>
            <pc:sldMk cId="800485257" sldId="1222"/>
            <ac:picMk id="4112" creationId="{E4483D93-C8F3-46E1-7DCA-9F65520C9B79}"/>
          </ac:picMkLst>
        </pc:picChg>
        <pc:picChg chg="add del mod topLvl">
          <ac:chgData name="Kellermann, Demian (CYS DEF OPS-DE)" userId="0961c1fd-f967-4660-b634-1c9ce6af0b19" providerId="ADAL" clId="{513664E0-C945-4B00-AC06-F205727D86B6}" dt="2023-09-29T08:04:19.553" v="3594" actId="478"/>
          <ac:picMkLst>
            <pc:docMk/>
            <pc:sldMk cId="800485257" sldId="1222"/>
            <ac:picMk id="4114" creationId="{FE0127C5-2B4B-2155-E2A5-6147890425ED}"/>
          </ac:picMkLst>
        </pc:picChg>
        <pc:picChg chg="add del mod">
          <ac:chgData name="Kellermann, Demian (CYS DEF OPS-DE)" userId="0961c1fd-f967-4660-b634-1c9ce6af0b19" providerId="ADAL" clId="{513664E0-C945-4B00-AC06-F205727D86B6}" dt="2023-09-29T08:04:19.553" v="3594" actId="478"/>
          <ac:picMkLst>
            <pc:docMk/>
            <pc:sldMk cId="800485257" sldId="1222"/>
            <ac:picMk id="4116" creationId="{217EF994-6F8B-A447-D2B0-102C7CCF2914}"/>
          </ac:picMkLst>
        </pc:pic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46" creationId="{D580FA02-B18A-B2B6-1AFC-3A95C4C4D87E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47" creationId="{9E5144FF-CFC1-0FDE-5599-304440188148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48" creationId="{DE54A198-8447-00D1-815A-8713D71914DB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50" creationId="{C547DFDF-2BC3-7CCD-A411-9D4AC89AC7DC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51" creationId="{6EE032F2-9836-5440-2B7A-C4FDBF46F953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52" creationId="{79E7864F-2EEE-B461-53E0-ED6A9F2D95EA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53" creationId="{11640586-1205-B577-D5C4-44B31EDC6073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54" creationId="{03D45C59-6F2B-B388-844E-04BCA82F16A7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55" creationId="{C9069DA5-CBB6-04E6-EFEF-B74EE4D682D5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56" creationId="{5827279A-B2EC-A2C6-1D97-6F81EDFCADC8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57" creationId="{5105F262-2AEF-A3BD-68BD-5A12C0423643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58" creationId="{B2562D24-83F4-5EE8-6211-3EAAE9AFA724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59" creationId="{670F9CF8-611E-F478-4AB2-270A4E0E7E8E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60" creationId="{3BEE631D-6039-DC47-2DEB-258072DDEA17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61" creationId="{0B3574BD-24D0-BB31-CF45-F460E206DFBC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62" creationId="{9350C125-4B04-F44E-1C2E-296E2F87F3AA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63" creationId="{90CFADB9-A5D2-F1E6-4395-D66C135AD25B}"/>
          </ac:cxnSpMkLst>
        </pc:cxnChg>
        <pc:cxnChg chg="add del mod">
          <ac:chgData name="Kellermann, Demian (CYS DEF OPS-DE)" userId="0961c1fd-f967-4660-b634-1c9ce6af0b19" providerId="ADAL" clId="{513664E0-C945-4B00-AC06-F205727D86B6}" dt="2023-09-28T15:06:36.721" v="3395" actId="478"/>
          <ac:cxnSpMkLst>
            <pc:docMk/>
            <pc:sldMk cId="800485257" sldId="1222"/>
            <ac:cxnSpMk id="1064" creationId="{E2B4CEBC-52DC-A6F8-3FF8-577508B37E00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65" creationId="{0313234B-E3D7-21EF-F424-F7AB2502E7CA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66" creationId="{D952D6CE-BA05-3AA0-959F-C9D2D0D5C10B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67" creationId="{CE5EEC03-4C7F-5544-88B7-A0CA435CF4B5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68" creationId="{623209C8-A881-BE80-BA72-B4F175790BF3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69" creationId="{410F6E37-90E7-1A52-9681-6E1CB15860C1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70" creationId="{9ED02E0A-F5B5-DEAD-DC88-1D7F60825DD1}"/>
          </ac:cxnSpMkLst>
        </pc:cxnChg>
        <pc:cxnChg chg="add del mod">
          <ac:chgData name="Kellermann, Demian (CYS DEF OPS-DE)" userId="0961c1fd-f967-4660-b634-1c9ce6af0b19" providerId="ADAL" clId="{513664E0-C945-4B00-AC06-F205727D86B6}" dt="2023-09-28T15:06:35.466" v="3394" actId="478"/>
          <ac:cxnSpMkLst>
            <pc:docMk/>
            <pc:sldMk cId="800485257" sldId="1222"/>
            <ac:cxnSpMk id="1071" creationId="{69D29622-D1E3-41B3-AE60-C949CC3FA8DB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72" creationId="{428F2E30-B834-BDC3-B52B-7EAE18F1437A}"/>
          </ac:cxnSpMkLst>
        </pc:cxnChg>
        <pc:cxnChg chg="add del mod topLvl">
          <ac:chgData name="Kellermann, Demian (CYS DEF OPS-DE)" userId="0961c1fd-f967-4660-b634-1c9ce6af0b19" providerId="ADAL" clId="{513664E0-C945-4B00-AC06-F205727D86B6}" dt="2023-09-29T08:04:19.553" v="3594" actId="478"/>
          <ac:cxnSpMkLst>
            <pc:docMk/>
            <pc:sldMk cId="800485257" sldId="1222"/>
            <ac:cxnSpMk id="1073" creationId="{69286980-F3F5-5759-B0F3-89282AA7FCDF}"/>
          </ac:cxnSpMkLst>
        </pc:cxnChg>
        <pc:cxnChg chg="add mod">
          <ac:chgData name="Kellermann, Demian (CYS DEF OPS-DE)" userId="0961c1fd-f967-4660-b634-1c9ce6af0b19" providerId="ADAL" clId="{513664E0-C945-4B00-AC06-F205727D86B6}" dt="2023-09-29T09:37:39.301" v="4964" actId="14100"/>
          <ac:cxnSpMkLst>
            <pc:docMk/>
            <pc:sldMk cId="800485257" sldId="1222"/>
            <ac:cxnSpMk id="4122" creationId="{F3952FAB-4A8C-4827-83A7-AE288B868760}"/>
          </ac:cxnSpMkLst>
        </pc:cxn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2210034582" sldId="1222"/>
        </pc:sldMkLst>
      </pc:sldChg>
      <pc:sldChg chg="addSp delSp modSp add mod">
        <pc:chgData name="Kellermann, Demian (CYS DEF OPS-DE)" userId="0961c1fd-f967-4660-b634-1c9ce6af0b19" providerId="ADAL" clId="{513664E0-C945-4B00-AC06-F205727D86B6}" dt="2023-10-05T11:02:42.630" v="10647" actId="1076"/>
        <pc:sldMkLst>
          <pc:docMk/>
          <pc:sldMk cId="1656023397" sldId="1223"/>
        </pc:sldMkLst>
        <pc:spChg chg="add del mod">
          <ac:chgData name="Kellermann, Demian (CYS DEF OPS-DE)" userId="0961c1fd-f967-4660-b634-1c9ce6af0b19" providerId="ADAL" clId="{513664E0-C945-4B00-AC06-F205727D86B6}" dt="2023-09-28T14:04:51.465" v="3027" actId="478"/>
          <ac:spMkLst>
            <pc:docMk/>
            <pc:sldMk cId="1656023397" sldId="1223"/>
            <ac:spMk id="3" creationId="{D5481C5E-BC51-1F18-D01D-3192D9A97BF2}"/>
          </ac:spMkLst>
        </pc:spChg>
        <pc:spChg chg="mod">
          <ac:chgData name="Kellermann, Demian (CYS DEF OPS-DE)" userId="0961c1fd-f967-4660-b634-1c9ce6af0b19" providerId="ADAL" clId="{513664E0-C945-4B00-AC06-F205727D86B6}" dt="2023-10-05T10:54:55.003" v="10588" actId="20577"/>
          <ac:spMkLst>
            <pc:docMk/>
            <pc:sldMk cId="1656023397" sldId="1223"/>
            <ac:spMk id="7" creationId="{E5C85B02-6DA3-BFEC-2BF0-99CECCE70D0D}"/>
          </ac:spMkLst>
        </pc:spChg>
        <pc:spChg chg="mod">
          <ac:chgData name="Kellermann, Demian (CYS DEF OPS-DE)" userId="0961c1fd-f967-4660-b634-1c9ce6af0b19" providerId="ADAL" clId="{513664E0-C945-4B00-AC06-F205727D86B6}" dt="2023-09-28T14:05:11.489" v="3029"/>
          <ac:spMkLst>
            <pc:docMk/>
            <pc:sldMk cId="1656023397" sldId="1223"/>
            <ac:spMk id="10" creationId="{A27EB4F1-9B06-1696-BE3D-07594BA1D206}"/>
          </ac:spMkLst>
        </pc:spChg>
        <pc:spChg chg="del">
          <ac:chgData name="Kellermann, Demian (CYS DEF OPS-DE)" userId="0961c1fd-f967-4660-b634-1c9ce6af0b19" providerId="ADAL" clId="{513664E0-C945-4B00-AC06-F205727D86B6}" dt="2023-09-28T14:05:37.048" v="3032" actId="478"/>
          <ac:spMkLst>
            <pc:docMk/>
            <pc:sldMk cId="1656023397" sldId="1223"/>
            <ac:spMk id="12" creationId="{C5E3CDD9-5A25-8029-FE4A-9D4074834B73}"/>
          </ac:spMkLst>
        </pc:spChg>
        <pc:spChg chg="del mod">
          <ac:chgData name="Kellermann, Demian (CYS DEF OPS-DE)" userId="0961c1fd-f967-4660-b634-1c9ce6af0b19" providerId="ADAL" clId="{513664E0-C945-4B00-AC06-F205727D86B6}" dt="2023-09-28T14:05:39.033" v="3034" actId="478"/>
          <ac:spMkLst>
            <pc:docMk/>
            <pc:sldMk cId="1656023397" sldId="1223"/>
            <ac:spMk id="15" creationId="{9945CF7E-06DE-F7CB-F0DD-112D557A2990}"/>
          </ac:spMkLst>
        </pc:spChg>
        <pc:grpChg chg="add del mod">
          <ac:chgData name="Kellermann, Demian (CYS DEF OPS-DE)" userId="0961c1fd-f967-4660-b634-1c9ce6af0b19" providerId="ADAL" clId="{513664E0-C945-4B00-AC06-F205727D86B6}" dt="2023-09-29T11:04:24.673" v="4997" actId="478"/>
          <ac:grpSpMkLst>
            <pc:docMk/>
            <pc:sldMk cId="1656023397" sldId="1223"/>
            <ac:grpSpMk id="8" creationId="{05E198B0-E0D2-299C-503E-FE043EE0AE5E}"/>
          </ac:grpSpMkLst>
        </pc:grpChg>
        <pc:picChg chg="add mod">
          <ac:chgData name="Kellermann, Demian (CYS DEF OPS-DE)" userId="0961c1fd-f967-4660-b634-1c9ce6af0b19" providerId="ADAL" clId="{513664E0-C945-4B00-AC06-F205727D86B6}" dt="2023-09-29T09:47:01.127" v="4990"/>
          <ac:picMkLst>
            <pc:docMk/>
            <pc:sldMk cId="1656023397" sldId="1223"/>
            <ac:picMk id="3" creationId="{96BE19FF-3DE2-64F4-3D00-97078C35063A}"/>
          </ac:picMkLst>
        </pc:picChg>
        <pc:picChg chg="add mod modCrop">
          <ac:chgData name="Kellermann, Demian (CYS DEF OPS-DE)" userId="0961c1fd-f967-4660-b634-1c9ce6af0b19" providerId="ADAL" clId="{513664E0-C945-4B00-AC06-F205727D86B6}" dt="2023-10-05T11:02:39.060" v="10646" actId="1076"/>
          <ac:picMkLst>
            <pc:docMk/>
            <pc:sldMk cId="1656023397" sldId="1223"/>
            <ac:picMk id="9" creationId="{29891FA3-F194-9643-A970-87F018672900}"/>
          </ac:picMkLst>
        </pc:picChg>
        <pc:picChg chg="mod">
          <ac:chgData name="Kellermann, Demian (CYS DEF OPS-DE)" userId="0961c1fd-f967-4660-b634-1c9ce6af0b19" providerId="ADAL" clId="{513664E0-C945-4B00-AC06-F205727D86B6}" dt="2023-09-28T14:05:11.489" v="3029"/>
          <ac:picMkLst>
            <pc:docMk/>
            <pc:sldMk cId="1656023397" sldId="1223"/>
            <ac:picMk id="9" creationId="{F32CADE6-031D-5D1C-CBD9-793BCEF5B408}"/>
          </ac:picMkLst>
        </pc:picChg>
        <pc:picChg chg="add mod modCrop">
          <ac:chgData name="Kellermann, Demian (CYS DEF OPS-DE)" userId="0961c1fd-f967-4660-b634-1c9ce6af0b19" providerId="ADAL" clId="{513664E0-C945-4B00-AC06-F205727D86B6}" dt="2023-10-05T11:02:42.630" v="10647" actId="1076"/>
          <ac:picMkLst>
            <pc:docMk/>
            <pc:sldMk cId="1656023397" sldId="1223"/>
            <ac:picMk id="11" creationId="{92E1AFAE-B97D-B08A-3E42-3575C3DA8032}"/>
          </ac:picMkLst>
        </pc:picChg>
        <pc:picChg chg="add mod">
          <ac:chgData name="Kellermann, Demian (CYS DEF OPS-DE)" userId="0961c1fd-f967-4660-b634-1c9ce6af0b19" providerId="ADAL" clId="{513664E0-C945-4B00-AC06-F205727D86B6}" dt="2023-09-29T11:04:30.875" v="4998" actId="1076"/>
          <ac:picMkLst>
            <pc:docMk/>
            <pc:sldMk cId="1656023397" sldId="1223"/>
            <ac:picMk id="12" creationId="{4B260667-F6A6-F430-47FB-57BBE86F401E}"/>
          </ac:picMkLst>
        </pc:picChg>
        <pc:picChg chg="del">
          <ac:chgData name="Kellermann, Demian (CYS DEF OPS-DE)" userId="0961c1fd-f967-4660-b634-1c9ce6af0b19" providerId="ADAL" clId="{513664E0-C945-4B00-AC06-F205727D86B6}" dt="2023-09-29T09:47:03.226" v="4991" actId="478"/>
          <ac:picMkLst>
            <pc:docMk/>
            <pc:sldMk cId="1656023397" sldId="1223"/>
            <ac:picMk id="1026" creationId="{D754EB09-5D57-9149-4AAD-1CDEF4E347D0}"/>
          </ac:picMkLst>
        </pc:pic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793697429" sldId="1223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506873757" sldId="1224"/>
        </pc:sldMkLst>
      </pc:sldChg>
      <pc:sldChg chg="addSp delSp modSp add mod modAnim">
        <pc:chgData name="Kellermann, Demian (CYS DEF OPS-DE)" userId="0961c1fd-f967-4660-b634-1c9ce6af0b19" providerId="ADAL" clId="{513664E0-C945-4B00-AC06-F205727D86B6}" dt="2023-10-05T14:23:40.532" v="12156"/>
        <pc:sldMkLst>
          <pc:docMk/>
          <pc:sldMk cId="3622853737" sldId="1224"/>
        </pc:sldMkLst>
        <pc:spChg chg="add mod">
          <ac:chgData name="Kellermann, Demian (CYS DEF OPS-DE)" userId="0961c1fd-f967-4660-b634-1c9ce6af0b19" providerId="ADAL" clId="{513664E0-C945-4B00-AC06-F205727D86B6}" dt="2023-10-05T10:50:48.356" v="10575" actId="1076"/>
          <ac:spMkLst>
            <pc:docMk/>
            <pc:sldMk cId="3622853737" sldId="1224"/>
            <ac:spMk id="3" creationId="{C6DF7FD9-FF0B-3144-AF39-DACFED276402}"/>
          </ac:spMkLst>
        </pc:spChg>
        <pc:spChg chg="mod">
          <ac:chgData name="Kellermann, Demian (CYS DEF OPS-DE)" userId="0961c1fd-f967-4660-b634-1c9ce6af0b19" providerId="ADAL" clId="{513664E0-C945-4B00-AC06-F205727D86B6}" dt="2023-10-05T10:40:04.785" v="10444" actId="6549"/>
          <ac:spMkLst>
            <pc:docMk/>
            <pc:sldMk cId="3622853737" sldId="1224"/>
            <ac:spMk id="7" creationId="{E5C85B02-6DA3-BFEC-2BF0-99CECCE70D0D}"/>
          </ac:spMkLst>
        </pc:spChg>
        <pc:spChg chg="add mod">
          <ac:chgData name="Kellermann, Demian (CYS DEF OPS-DE)" userId="0961c1fd-f967-4660-b634-1c9ce6af0b19" providerId="ADAL" clId="{513664E0-C945-4B00-AC06-F205727D86B6}" dt="2023-10-05T10:50:51.806" v="10577" actId="14100"/>
          <ac:spMkLst>
            <pc:docMk/>
            <pc:sldMk cId="3622853737" sldId="1224"/>
            <ac:spMk id="8" creationId="{572D2688-DAA8-DD2A-938C-41BFA3CDA881}"/>
          </ac:spMkLst>
        </pc:spChg>
        <pc:spChg chg="add mod">
          <ac:chgData name="Kellermann, Demian (CYS DEF OPS-DE)" userId="0961c1fd-f967-4660-b634-1c9ce6af0b19" providerId="ADAL" clId="{513664E0-C945-4B00-AC06-F205727D86B6}" dt="2023-10-05T10:50:54.506" v="10578" actId="14100"/>
          <ac:spMkLst>
            <pc:docMk/>
            <pc:sldMk cId="3622853737" sldId="1224"/>
            <ac:spMk id="9" creationId="{ABBA3E07-8B18-8634-2BB5-81B5DFBCCF6C}"/>
          </ac:spMkLst>
        </pc:spChg>
        <pc:spChg chg="add mod">
          <ac:chgData name="Kellermann, Demian (CYS DEF OPS-DE)" userId="0961c1fd-f967-4660-b634-1c9ce6af0b19" providerId="ADAL" clId="{513664E0-C945-4B00-AC06-F205727D86B6}" dt="2023-10-05T10:50:57.746" v="10580" actId="14100"/>
          <ac:spMkLst>
            <pc:docMk/>
            <pc:sldMk cId="3622853737" sldId="1224"/>
            <ac:spMk id="10" creationId="{51DD8220-B35C-1AB7-25ED-985ED786BD87}"/>
          </ac:spMkLst>
        </pc:spChg>
        <pc:spChg chg="add mod">
          <ac:chgData name="Kellermann, Demian (CYS DEF OPS-DE)" userId="0961c1fd-f967-4660-b634-1c9ce6af0b19" providerId="ADAL" clId="{513664E0-C945-4B00-AC06-F205727D86B6}" dt="2023-10-05T10:55:36.644" v="10623" actId="14100"/>
          <ac:spMkLst>
            <pc:docMk/>
            <pc:sldMk cId="3622853737" sldId="1224"/>
            <ac:spMk id="11" creationId="{AF5E61DA-BCBC-3E0D-6CEB-E59153DA229F}"/>
          </ac:spMkLst>
        </pc:spChg>
        <pc:spChg chg="del">
          <ac:chgData name="Kellermann, Demian (CYS DEF OPS-DE)" userId="0961c1fd-f967-4660-b634-1c9ce6af0b19" providerId="ADAL" clId="{513664E0-C945-4B00-AC06-F205727D86B6}" dt="2023-09-28T14:06:35.255" v="3045" actId="478"/>
          <ac:spMkLst>
            <pc:docMk/>
            <pc:sldMk cId="3622853737" sldId="1224"/>
            <ac:spMk id="12" creationId="{C5E3CDD9-5A25-8029-FE4A-9D4074834B73}"/>
          </ac:spMkLst>
        </pc:spChg>
        <pc:spChg chg="del">
          <ac:chgData name="Kellermann, Demian (CYS DEF OPS-DE)" userId="0961c1fd-f967-4660-b634-1c9ce6af0b19" providerId="ADAL" clId="{513664E0-C945-4B00-AC06-F205727D86B6}" dt="2023-09-28T14:06:33.406" v="3044" actId="478"/>
          <ac:spMkLst>
            <pc:docMk/>
            <pc:sldMk cId="3622853737" sldId="1224"/>
            <ac:spMk id="14" creationId="{45738E32-F950-74A4-2AFC-FD2BE9736610}"/>
          </ac:spMkLst>
        </pc:spChg>
        <pc:spChg chg="del">
          <ac:chgData name="Kellermann, Demian (CYS DEF OPS-DE)" userId="0961c1fd-f967-4660-b634-1c9ce6af0b19" providerId="ADAL" clId="{513664E0-C945-4B00-AC06-F205727D86B6}" dt="2023-09-28T14:06:32.836" v="3043" actId="478"/>
          <ac:spMkLst>
            <pc:docMk/>
            <pc:sldMk cId="3622853737" sldId="1224"/>
            <ac:spMk id="15" creationId="{9945CF7E-06DE-F7CB-F0DD-112D557A2990}"/>
          </ac:spMkLst>
        </pc:sp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303167001" sldId="1225"/>
        </pc:sldMkLst>
      </pc:sldChg>
      <pc:sldChg chg="modSp add mod">
        <pc:chgData name="Kellermann, Demian (CYS DEF OPS-DE)" userId="0961c1fd-f967-4660-b634-1c9ce6af0b19" providerId="ADAL" clId="{513664E0-C945-4B00-AC06-F205727D86B6}" dt="2023-10-05T10:52:49.167" v="10584" actId="13926"/>
        <pc:sldMkLst>
          <pc:docMk/>
          <pc:sldMk cId="3816082453" sldId="1225"/>
        </pc:sldMkLst>
        <pc:spChg chg="mod">
          <ac:chgData name="Kellermann, Demian (CYS DEF OPS-DE)" userId="0961c1fd-f967-4660-b634-1c9ce6af0b19" providerId="ADAL" clId="{513664E0-C945-4B00-AC06-F205727D86B6}" dt="2023-10-05T10:52:01.856" v="10582" actId="20577"/>
          <ac:spMkLst>
            <pc:docMk/>
            <pc:sldMk cId="3816082453" sldId="1225"/>
            <ac:spMk id="7" creationId="{E5C85B02-6DA3-BFEC-2BF0-99CECCE70D0D}"/>
          </ac:spMkLst>
        </pc:spChg>
        <pc:spChg chg="mod">
          <ac:chgData name="Kellermann, Demian (CYS DEF OPS-DE)" userId="0961c1fd-f967-4660-b634-1c9ce6af0b19" providerId="ADAL" clId="{513664E0-C945-4B00-AC06-F205727D86B6}" dt="2023-10-05T10:52:49.167" v="10584" actId="13926"/>
          <ac:spMkLst>
            <pc:docMk/>
            <pc:sldMk cId="3816082453" sldId="1225"/>
            <ac:spMk id="12" creationId="{C5E3CDD9-5A25-8029-FE4A-9D4074834B73}"/>
          </ac:spMkLst>
        </pc:sp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729370301" sldId="1226"/>
        </pc:sldMkLst>
      </pc:sldChg>
      <pc:sldChg chg="addSp delSp modSp add mod ord">
        <pc:chgData name="Kellermann, Demian (CYS DEF OPS-DE)" userId="0961c1fd-f967-4660-b634-1c9ce6af0b19" providerId="ADAL" clId="{513664E0-C945-4B00-AC06-F205727D86B6}" dt="2023-10-05T10:54:42.642" v="10587" actId="20577"/>
        <pc:sldMkLst>
          <pc:docMk/>
          <pc:sldMk cId="4060943251" sldId="1226"/>
        </pc:sldMkLst>
        <pc:spChg chg="add del">
          <ac:chgData name="Kellermann, Demian (CYS DEF OPS-DE)" userId="0961c1fd-f967-4660-b634-1c9ce6af0b19" providerId="ADAL" clId="{513664E0-C945-4B00-AC06-F205727D86B6}" dt="2023-09-28T14:20:54.443" v="3059"/>
          <ac:spMkLst>
            <pc:docMk/>
            <pc:sldMk cId="4060943251" sldId="1226"/>
            <ac:spMk id="3" creationId="{CB54C53A-BC08-0FFE-8BD2-445150D4494C}"/>
          </ac:spMkLst>
        </pc:spChg>
        <pc:spChg chg="mod">
          <ac:chgData name="Kellermann, Demian (CYS DEF OPS-DE)" userId="0961c1fd-f967-4660-b634-1c9ce6af0b19" providerId="ADAL" clId="{513664E0-C945-4B00-AC06-F205727D86B6}" dt="2023-10-05T10:53:28.077" v="10585" actId="20577"/>
          <ac:spMkLst>
            <pc:docMk/>
            <pc:sldMk cId="4060943251" sldId="1226"/>
            <ac:spMk id="7" creationId="{E5C85B02-6DA3-BFEC-2BF0-99CECCE70D0D}"/>
          </ac:spMkLst>
        </pc:spChg>
        <pc:spChg chg="add mod">
          <ac:chgData name="Kellermann, Demian (CYS DEF OPS-DE)" userId="0961c1fd-f967-4660-b634-1c9ce6af0b19" providerId="ADAL" clId="{513664E0-C945-4B00-AC06-F205727D86B6}" dt="2023-10-05T10:54:42.642" v="10587" actId="20577"/>
          <ac:spMkLst>
            <pc:docMk/>
            <pc:sldMk cId="4060943251" sldId="1226"/>
            <ac:spMk id="9" creationId="{131DEE0A-5AA6-691A-242B-D14D281DE55E}"/>
          </ac:spMkLst>
        </pc:spChg>
        <pc:spChg chg="del mod">
          <ac:chgData name="Kellermann, Demian (CYS DEF OPS-DE)" userId="0961c1fd-f967-4660-b634-1c9ce6af0b19" providerId="ADAL" clId="{513664E0-C945-4B00-AC06-F205727D86B6}" dt="2023-09-28T14:29:11.964" v="3064" actId="478"/>
          <ac:spMkLst>
            <pc:docMk/>
            <pc:sldMk cId="4060943251" sldId="1226"/>
            <ac:spMk id="12" creationId="{C5E3CDD9-5A25-8029-FE4A-9D4074834B73}"/>
          </ac:spMkLst>
        </pc:spChg>
        <pc:spChg chg="ord">
          <ac:chgData name="Kellermann, Demian (CYS DEF OPS-DE)" userId="0961c1fd-f967-4660-b634-1c9ce6af0b19" providerId="ADAL" clId="{513664E0-C945-4B00-AC06-F205727D86B6}" dt="2023-09-28T14:32:43.918" v="3221" actId="166"/>
          <ac:spMkLst>
            <pc:docMk/>
            <pc:sldMk cId="4060943251" sldId="1226"/>
            <ac:spMk id="14" creationId="{45738E32-F950-74A4-2AFC-FD2BE9736610}"/>
          </ac:spMkLst>
        </pc:spChg>
        <pc:picChg chg="del">
          <ac:chgData name="Kellermann, Demian (CYS DEF OPS-DE)" userId="0961c1fd-f967-4660-b634-1c9ce6af0b19" providerId="ADAL" clId="{513664E0-C945-4B00-AC06-F205727D86B6}" dt="2023-09-28T14:19:38.506" v="3057" actId="478"/>
          <ac:picMkLst>
            <pc:docMk/>
            <pc:sldMk cId="4060943251" sldId="1226"/>
            <ac:picMk id="1026" creationId="{D754EB09-5D57-9149-4AAD-1CDEF4E347D0}"/>
          </ac:picMkLst>
        </pc:picChg>
        <pc:picChg chg="add mod">
          <ac:chgData name="Kellermann, Demian (CYS DEF OPS-DE)" userId="0961c1fd-f967-4660-b634-1c9ce6af0b19" providerId="ADAL" clId="{513664E0-C945-4B00-AC06-F205727D86B6}" dt="2023-09-28T14:21:54.460" v="3061" actId="1076"/>
          <ac:picMkLst>
            <pc:docMk/>
            <pc:sldMk cId="4060943251" sldId="1226"/>
            <ac:picMk id="2052" creationId="{BE3E77EC-CAD4-F1ED-9124-6AB1D214B8C2}"/>
          </ac:picMkLst>
        </pc:pic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1427142428" sldId="1227"/>
        </pc:sldMkLst>
      </pc:sldChg>
      <pc:sldChg chg="add">
        <pc:chgData name="Kellermann, Demian (CYS DEF OPS-DE)" userId="0961c1fd-f967-4660-b634-1c9ce6af0b19" providerId="ADAL" clId="{513664E0-C945-4B00-AC06-F205727D86B6}" dt="2023-09-28T14:52:53.067" v="3314"/>
        <pc:sldMkLst>
          <pc:docMk/>
          <pc:sldMk cId="1816225658" sldId="1227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1890738641" sldId="1228"/>
        </pc:sldMkLst>
      </pc:sldChg>
      <pc:sldChg chg="modSp add mod">
        <pc:chgData name="Kellermann, Demian (CYS DEF OPS-DE)" userId="0961c1fd-f967-4660-b634-1c9ce6af0b19" providerId="ADAL" clId="{513664E0-C945-4B00-AC06-F205727D86B6}" dt="2023-09-29T09:45:37.085" v="4989" actId="6549"/>
        <pc:sldMkLst>
          <pc:docMk/>
          <pc:sldMk cId="2694688625" sldId="1228"/>
        </pc:sldMkLst>
        <pc:spChg chg="mod">
          <ac:chgData name="Kellermann, Demian (CYS DEF OPS-DE)" userId="0961c1fd-f967-4660-b634-1c9ce6af0b19" providerId="ADAL" clId="{513664E0-C945-4B00-AC06-F205727D86B6}" dt="2023-09-29T09:45:37.085" v="4989" actId="6549"/>
          <ac:spMkLst>
            <pc:docMk/>
            <pc:sldMk cId="2694688625" sldId="1228"/>
            <ac:spMk id="2" creationId="{813C3CFC-9697-4716-A651-26E69FE6AB0F}"/>
          </ac:spMkLst>
        </pc:spChg>
      </pc:sldChg>
      <pc:sldChg chg="addSp delSp modSp add del mod">
        <pc:chgData name="Kellermann, Demian (CYS DEF OPS-DE)" userId="0961c1fd-f967-4660-b634-1c9ce6af0b19" providerId="ADAL" clId="{513664E0-C945-4B00-AC06-F205727D86B6}" dt="2023-10-05T14:24:30.511" v="12157" actId="47"/>
        <pc:sldMkLst>
          <pc:docMk/>
          <pc:sldMk cId="940545974" sldId="1229"/>
        </pc:sldMkLst>
        <pc:spChg chg="mod">
          <ac:chgData name="Kellermann, Demian (CYS DEF OPS-DE)" userId="0961c1fd-f967-4660-b634-1c9ce6af0b19" providerId="ADAL" clId="{513664E0-C945-4B00-AC06-F205727D86B6}" dt="2023-10-05T10:38:21.119" v="10360"/>
          <ac:spMkLst>
            <pc:docMk/>
            <pc:sldMk cId="940545974" sldId="1229"/>
            <ac:spMk id="2" creationId="{813C3CFC-9697-4716-A651-26E69FE6AB0F}"/>
          </ac:spMkLst>
        </pc:spChg>
        <pc:spChg chg="mod">
          <ac:chgData name="Kellermann, Demian (CYS DEF OPS-DE)" userId="0961c1fd-f967-4660-b634-1c9ce6af0b19" providerId="ADAL" clId="{513664E0-C945-4B00-AC06-F205727D86B6}" dt="2023-10-05T14:03:29.035" v="12012" actId="20577"/>
          <ac:spMkLst>
            <pc:docMk/>
            <pc:sldMk cId="940545974" sldId="1229"/>
            <ac:spMk id="3" creationId="{8A9C2B79-DDBD-077A-9EF4-22C9800B4DF6}"/>
          </ac:spMkLst>
        </pc:spChg>
        <pc:spChg chg="mod">
          <ac:chgData name="Kellermann, Demian (CYS DEF OPS-DE)" userId="0961c1fd-f967-4660-b634-1c9ce6af0b19" providerId="ADAL" clId="{513664E0-C945-4B00-AC06-F205727D86B6}" dt="2023-10-05T14:06:15.215" v="12068" actId="20577"/>
          <ac:spMkLst>
            <pc:docMk/>
            <pc:sldMk cId="940545974" sldId="1229"/>
            <ac:spMk id="7" creationId="{72DE90BD-D1CF-5B36-1B90-DBF738EE4A83}"/>
          </ac:spMkLst>
        </pc:spChg>
        <pc:spChg chg="mod">
          <ac:chgData name="Kellermann, Demian (CYS DEF OPS-DE)" userId="0961c1fd-f967-4660-b634-1c9ce6af0b19" providerId="ADAL" clId="{513664E0-C945-4B00-AC06-F205727D86B6}" dt="2023-10-05T14:04:31.073" v="12028" actId="20577"/>
          <ac:spMkLst>
            <pc:docMk/>
            <pc:sldMk cId="940545974" sldId="1229"/>
            <ac:spMk id="4112" creationId="{0B8EEAF0-A39D-B831-7456-A875102BCE53}"/>
          </ac:spMkLst>
        </pc:spChg>
        <pc:spChg chg="mod">
          <ac:chgData name="Kellermann, Demian (CYS DEF OPS-DE)" userId="0961c1fd-f967-4660-b634-1c9ce6af0b19" providerId="ADAL" clId="{513664E0-C945-4B00-AC06-F205727D86B6}" dt="2023-10-05T14:05:14.361" v="12050" actId="20577"/>
          <ac:spMkLst>
            <pc:docMk/>
            <pc:sldMk cId="940545974" sldId="1229"/>
            <ac:spMk id="4113" creationId="{3311CDEF-460A-087A-544C-0AB99C257D55}"/>
          </ac:spMkLst>
        </pc:spChg>
        <pc:spChg chg="del mod">
          <ac:chgData name="Kellermann, Demian (CYS DEF OPS-DE)" userId="0961c1fd-f967-4660-b634-1c9ce6af0b19" providerId="ADAL" clId="{513664E0-C945-4B00-AC06-F205727D86B6}" dt="2023-10-05T14:22:21.490" v="12151" actId="478"/>
          <ac:spMkLst>
            <pc:docMk/>
            <pc:sldMk cId="940545974" sldId="1229"/>
            <ac:spMk id="4115" creationId="{281392EB-17A8-624E-C63D-C3455E4F2860}"/>
          </ac:spMkLst>
        </pc:spChg>
        <pc:spChg chg="del mod">
          <ac:chgData name="Kellermann, Demian (CYS DEF OPS-DE)" userId="0961c1fd-f967-4660-b634-1c9ce6af0b19" providerId="ADAL" clId="{513664E0-C945-4B00-AC06-F205727D86B6}" dt="2023-10-05T14:22:21.490" v="12151" actId="478"/>
          <ac:spMkLst>
            <pc:docMk/>
            <pc:sldMk cId="940545974" sldId="1229"/>
            <ac:spMk id="4117" creationId="{A0BB4768-225C-0766-2CDC-789D07782D1D}"/>
          </ac:spMkLst>
        </pc:spChg>
        <pc:spChg chg="del mod">
          <ac:chgData name="Kellermann, Demian (CYS DEF OPS-DE)" userId="0961c1fd-f967-4660-b634-1c9ce6af0b19" providerId="ADAL" clId="{513664E0-C945-4B00-AC06-F205727D86B6}" dt="2023-10-05T14:22:21.490" v="12151" actId="478"/>
          <ac:spMkLst>
            <pc:docMk/>
            <pc:sldMk cId="940545974" sldId="1229"/>
            <ac:spMk id="4118" creationId="{C17DBB16-31CF-8AEA-7003-5EB64B6DA74E}"/>
          </ac:spMkLst>
        </pc:spChg>
        <pc:spChg chg="mod">
          <ac:chgData name="Kellermann, Demian (CYS DEF OPS-DE)" userId="0961c1fd-f967-4660-b634-1c9ce6af0b19" providerId="ADAL" clId="{513664E0-C945-4B00-AC06-F205727D86B6}" dt="2023-10-05T14:22:05.265" v="12148" actId="20577"/>
          <ac:spMkLst>
            <pc:docMk/>
            <pc:sldMk cId="940545974" sldId="1229"/>
            <ac:spMk id="4120" creationId="{05545F7A-6320-EEED-AF4F-F1B4FF49E9C1}"/>
          </ac:spMkLst>
        </pc:spChg>
        <pc:picChg chg="add mod">
          <ac:chgData name="Kellermann, Demian (CYS DEF OPS-DE)" userId="0961c1fd-f967-4660-b634-1c9ce6af0b19" providerId="ADAL" clId="{513664E0-C945-4B00-AC06-F205727D86B6}" dt="2023-10-05T14:03:24.685" v="12001" actId="1076"/>
          <ac:picMkLst>
            <pc:docMk/>
            <pc:sldMk cId="940545974" sldId="1229"/>
            <ac:picMk id="8" creationId="{CA01F115-7049-0D0C-46BC-B47934454D03}"/>
          </ac:picMkLst>
        </pc:picChg>
        <pc:picChg chg="mod">
          <ac:chgData name="Kellermann, Demian (CYS DEF OPS-DE)" userId="0961c1fd-f967-4660-b634-1c9ce6af0b19" providerId="ADAL" clId="{513664E0-C945-4B00-AC06-F205727D86B6}" dt="2023-10-05T14:06:32.779" v="12069" actId="207"/>
          <ac:picMkLst>
            <pc:docMk/>
            <pc:sldMk cId="940545974" sldId="1229"/>
            <ac:picMk id="9" creationId="{98FB5780-6248-6A92-80B4-C5975E02B201}"/>
          </ac:picMkLst>
        </pc:picChg>
        <pc:picChg chg="mod">
          <ac:chgData name="Kellermann, Demian (CYS DEF OPS-DE)" userId="0961c1fd-f967-4660-b634-1c9ce6af0b19" providerId="ADAL" clId="{513664E0-C945-4B00-AC06-F205727D86B6}" dt="2023-10-05T14:06:32.779" v="12069" actId="207"/>
          <ac:picMkLst>
            <pc:docMk/>
            <pc:sldMk cId="940545974" sldId="1229"/>
            <ac:picMk id="11" creationId="{D4E68CD8-A9E7-7D44-4BA8-CB3F5BBBEF2C}"/>
          </ac:picMkLst>
        </pc:picChg>
        <pc:picChg chg="add mod">
          <ac:chgData name="Kellermann, Demian (CYS DEF OPS-DE)" userId="0961c1fd-f967-4660-b634-1c9ce6af0b19" providerId="ADAL" clId="{513664E0-C945-4B00-AC06-F205727D86B6}" dt="2023-10-05T14:06:47.449" v="12070" actId="1076"/>
          <ac:picMkLst>
            <pc:docMk/>
            <pc:sldMk cId="940545974" sldId="1229"/>
            <ac:picMk id="12" creationId="{EB01E020-E294-C31B-E647-75B036C2A585}"/>
          </ac:picMkLst>
        </pc:picChg>
        <pc:picChg chg="mod">
          <ac:chgData name="Kellermann, Demian (CYS DEF OPS-DE)" userId="0961c1fd-f967-4660-b634-1c9ce6af0b19" providerId="ADAL" clId="{513664E0-C945-4B00-AC06-F205727D86B6}" dt="2023-10-05T14:06:32.779" v="12069" actId="207"/>
          <ac:picMkLst>
            <pc:docMk/>
            <pc:sldMk cId="940545974" sldId="1229"/>
            <ac:picMk id="13" creationId="{B7CFCE90-8666-830D-1F41-76615C685969}"/>
          </ac:picMkLst>
        </pc:picChg>
        <pc:picChg chg="add mod">
          <ac:chgData name="Kellermann, Demian (CYS DEF OPS-DE)" userId="0961c1fd-f967-4660-b634-1c9ce6af0b19" providerId="ADAL" clId="{513664E0-C945-4B00-AC06-F205727D86B6}" dt="2023-10-05T14:05:10.552" v="12041" actId="1076"/>
          <ac:picMkLst>
            <pc:docMk/>
            <pc:sldMk cId="940545974" sldId="1229"/>
            <ac:picMk id="18" creationId="{8C62F4B3-E5BA-1670-EB0E-F24EFB28970A}"/>
          </ac:picMkLst>
        </pc:picChg>
        <pc:picChg chg="add mod">
          <ac:chgData name="Kellermann, Demian (CYS DEF OPS-DE)" userId="0961c1fd-f967-4660-b634-1c9ce6af0b19" providerId="ADAL" clId="{513664E0-C945-4B00-AC06-F205727D86B6}" dt="2023-10-05T14:06:07.565" v="12055" actId="1076"/>
          <ac:picMkLst>
            <pc:docMk/>
            <pc:sldMk cId="940545974" sldId="1229"/>
            <ac:picMk id="20" creationId="{CE155BF9-0AAE-6A69-6313-6354C6A06C7A}"/>
          </ac:picMkLst>
        </pc:picChg>
        <pc:picChg chg="add del mod">
          <ac:chgData name="Kellermann, Demian (CYS DEF OPS-DE)" userId="0961c1fd-f967-4660-b634-1c9ce6af0b19" providerId="ADAL" clId="{513664E0-C945-4B00-AC06-F205727D86B6}" dt="2023-10-05T14:22:21.490" v="12151" actId="478"/>
          <ac:picMkLst>
            <pc:docMk/>
            <pc:sldMk cId="940545974" sldId="1229"/>
            <ac:picMk id="22" creationId="{4A6CA1DC-6C1E-D2E1-87E7-58C3A9270E69}"/>
          </ac:picMkLst>
        </pc:picChg>
        <pc:picChg chg="add del mod">
          <ac:chgData name="Kellermann, Demian (CYS DEF OPS-DE)" userId="0961c1fd-f967-4660-b634-1c9ce6af0b19" providerId="ADAL" clId="{513664E0-C945-4B00-AC06-F205727D86B6}" dt="2023-10-05T14:22:21.490" v="12151" actId="478"/>
          <ac:picMkLst>
            <pc:docMk/>
            <pc:sldMk cId="940545974" sldId="1229"/>
            <ac:picMk id="24" creationId="{DEC15E67-5A23-1AC5-32E6-2DABA00DF3BC}"/>
          </ac:picMkLst>
        </pc:picChg>
        <pc:picChg chg="add del mod">
          <ac:chgData name="Kellermann, Demian (CYS DEF OPS-DE)" userId="0961c1fd-f967-4660-b634-1c9ce6af0b19" providerId="ADAL" clId="{513664E0-C945-4B00-AC06-F205727D86B6}" dt="2023-10-05T14:22:21.490" v="12151" actId="478"/>
          <ac:picMkLst>
            <pc:docMk/>
            <pc:sldMk cId="940545974" sldId="1229"/>
            <ac:picMk id="26" creationId="{D70B3F7A-B9F1-C903-BAE1-B50CD0D9C94D}"/>
          </ac:picMkLst>
        </pc:picChg>
        <pc:picChg chg="add mod">
          <ac:chgData name="Kellermann, Demian (CYS DEF OPS-DE)" userId="0961c1fd-f967-4660-b634-1c9ce6af0b19" providerId="ADAL" clId="{513664E0-C945-4B00-AC06-F205727D86B6}" dt="2023-10-05T14:21:52.320" v="12142" actId="1076"/>
          <ac:picMkLst>
            <pc:docMk/>
            <pc:sldMk cId="940545974" sldId="1229"/>
            <ac:picMk id="28" creationId="{AA5108FA-02E0-8368-4A5F-F561220A5E77}"/>
          </ac:picMkLst>
        </pc:picChg>
        <pc:picChg chg="mod">
          <ac:chgData name="Kellermann, Demian (CYS DEF OPS-DE)" userId="0961c1fd-f967-4660-b634-1c9ce6af0b19" providerId="ADAL" clId="{513664E0-C945-4B00-AC06-F205727D86B6}" dt="2023-10-05T14:06:32.779" v="12069" actId="207"/>
          <ac:picMkLst>
            <pc:docMk/>
            <pc:sldMk cId="940545974" sldId="1229"/>
            <ac:picMk id="4096" creationId="{3D5FC6EC-120E-A79D-D4C8-E901A574DEF3}"/>
          </ac:picMkLst>
        </pc:picChg>
        <pc:picChg chg="mod">
          <ac:chgData name="Kellermann, Demian (CYS DEF OPS-DE)" userId="0961c1fd-f967-4660-b634-1c9ce6af0b19" providerId="ADAL" clId="{513664E0-C945-4B00-AC06-F205727D86B6}" dt="2023-10-05T14:06:32.779" v="12069" actId="207"/>
          <ac:picMkLst>
            <pc:docMk/>
            <pc:sldMk cId="940545974" sldId="1229"/>
            <ac:picMk id="4100" creationId="{074E33AD-E8D8-7A6E-40D9-3378D026B75A}"/>
          </ac:picMkLst>
        </pc:pic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787277197" sldId="1229"/>
        </pc:sldMkLst>
      </pc:sldChg>
      <pc:sldChg chg="add del">
        <pc:chgData name="Kellermann, Demian (CYS DEF OPS-DE)" userId="0961c1fd-f967-4660-b634-1c9ce6af0b19" providerId="ADAL" clId="{513664E0-C945-4B00-AC06-F205727D86B6}" dt="2023-10-02T12:11:25.179" v="8019" actId="47"/>
        <pc:sldMkLst>
          <pc:docMk/>
          <pc:sldMk cId="4095904045" sldId="1230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4108710468" sldId="1230"/>
        </pc:sldMkLst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737531126" sldId="1231"/>
        </pc:sldMkLst>
      </pc:sldChg>
      <pc:sldChg chg="addSp delSp modSp add mod">
        <pc:chgData name="Kellermann, Demian (CYS DEF OPS-DE)" userId="0961c1fd-f967-4660-b634-1c9ce6af0b19" providerId="ADAL" clId="{513664E0-C945-4B00-AC06-F205727D86B6}" dt="2023-09-29T16:31:43.510" v="7775" actId="1035"/>
        <pc:sldMkLst>
          <pc:docMk/>
          <pc:sldMk cId="3989008110" sldId="1231"/>
        </pc:sldMkLst>
        <pc:spChg chg="mod">
          <ac:chgData name="Kellermann, Demian (CYS DEF OPS-DE)" userId="0961c1fd-f967-4660-b634-1c9ce6af0b19" providerId="ADAL" clId="{513664E0-C945-4B00-AC06-F205727D86B6}" dt="2023-09-29T11:05:29.200" v="5008" actId="20577"/>
          <ac:spMkLst>
            <pc:docMk/>
            <pc:sldMk cId="3989008110" sldId="1231"/>
            <ac:spMk id="2" creationId="{813C3CFC-9697-4716-A651-26E69FE6AB0F}"/>
          </ac:spMkLst>
        </pc:spChg>
        <pc:spChg chg="del">
          <ac:chgData name="Kellermann, Demian (CYS DEF OPS-DE)" userId="0961c1fd-f967-4660-b634-1c9ce6af0b19" providerId="ADAL" clId="{513664E0-C945-4B00-AC06-F205727D86B6}" dt="2023-09-29T11:05:31.888" v="5009" actId="478"/>
          <ac:spMkLst>
            <pc:docMk/>
            <pc:sldMk cId="3989008110" sldId="1231"/>
            <ac:spMk id="5" creationId="{932C0C0F-F186-9BA0-5E48-A17A12A14AB3}"/>
          </ac:spMkLst>
        </pc:spChg>
        <pc:spChg chg="del">
          <ac:chgData name="Kellermann, Demian (CYS DEF OPS-DE)" userId="0961c1fd-f967-4660-b634-1c9ce6af0b19" providerId="ADAL" clId="{513664E0-C945-4B00-AC06-F205727D86B6}" dt="2023-09-29T11:05:33.891" v="5011" actId="478"/>
          <ac:spMkLst>
            <pc:docMk/>
            <pc:sldMk cId="3989008110" sldId="1231"/>
            <ac:spMk id="7" creationId="{E5C85B02-6DA3-BFEC-2BF0-99CECCE70D0D}"/>
          </ac:spMkLst>
        </pc:spChg>
        <pc:spChg chg="add mod">
          <ac:chgData name="Kellermann, Demian (CYS DEF OPS-DE)" userId="0961c1fd-f967-4660-b634-1c9ce6af0b19" providerId="ADAL" clId="{513664E0-C945-4B00-AC06-F205727D86B6}" dt="2023-09-29T16:31:35.795" v="7760" actId="6549"/>
          <ac:spMkLst>
            <pc:docMk/>
            <pc:sldMk cId="3989008110" sldId="1231"/>
            <ac:spMk id="8" creationId="{8B679F37-F4CD-86B8-C519-E36FA4A7E0A9}"/>
          </ac:spMkLst>
        </pc:spChg>
        <pc:spChg chg="add del mod">
          <ac:chgData name="Kellermann, Demian (CYS DEF OPS-DE)" userId="0961c1fd-f967-4660-b634-1c9ce6af0b19" providerId="ADAL" clId="{513664E0-C945-4B00-AC06-F205727D86B6}" dt="2023-09-29T16:08:00.687" v="7147" actId="478"/>
          <ac:spMkLst>
            <pc:docMk/>
            <pc:sldMk cId="3989008110" sldId="1231"/>
            <ac:spMk id="10" creationId="{C7E18851-BCC8-3222-B600-1674E8D25DB3}"/>
          </ac:spMkLst>
        </pc:spChg>
        <pc:spChg chg="add del">
          <ac:chgData name="Kellermann, Demian (CYS DEF OPS-DE)" userId="0961c1fd-f967-4660-b634-1c9ce6af0b19" providerId="ADAL" clId="{513664E0-C945-4B00-AC06-F205727D86B6}" dt="2023-09-29T13:28:50.442" v="5885" actId="22"/>
          <ac:spMkLst>
            <pc:docMk/>
            <pc:sldMk cId="3989008110" sldId="1231"/>
            <ac:spMk id="13" creationId="{2A4A6957-F395-3350-B253-D18EE6205462}"/>
          </ac:spMkLst>
        </pc:spChg>
        <pc:spChg chg="del">
          <ac:chgData name="Kellermann, Demian (CYS DEF OPS-DE)" userId="0961c1fd-f967-4660-b634-1c9ce6af0b19" providerId="ADAL" clId="{513664E0-C945-4B00-AC06-F205727D86B6}" dt="2023-09-29T11:05:35.524" v="5012" actId="478"/>
          <ac:spMkLst>
            <pc:docMk/>
            <pc:sldMk cId="3989008110" sldId="1231"/>
            <ac:spMk id="14" creationId="{45738E32-F950-74A4-2AFC-FD2BE9736610}"/>
          </ac:spMkLst>
        </pc:spChg>
        <pc:graphicFrameChg chg="add mod modGraphic">
          <ac:chgData name="Kellermann, Demian (CYS DEF OPS-DE)" userId="0961c1fd-f967-4660-b634-1c9ce6af0b19" providerId="ADAL" clId="{513664E0-C945-4B00-AC06-F205727D86B6}" dt="2023-09-29T16:31:43.510" v="7775" actId="1035"/>
          <ac:graphicFrameMkLst>
            <pc:docMk/>
            <pc:sldMk cId="3989008110" sldId="1231"/>
            <ac:graphicFrameMk id="15" creationId="{04FB30E8-22FC-9E52-6B44-8E404BF7A6C0}"/>
          </ac:graphicFrameMkLst>
        </pc:graphicFrameChg>
        <pc:picChg chg="del">
          <ac:chgData name="Kellermann, Demian (CYS DEF OPS-DE)" userId="0961c1fd-f967-4660-b634-1c9ce6af0b19" providerId="ADAL" clId="{513664E0-C945-4B00-AC06-F205727D86B6}" dt="2023-09-29T11:05:32.397" v="5010" actId="478"/>
          <ac:picMkLst>
            <pc:docMk/>
            <pc:sldMk cId="3989008110" sldId="1231"/>
            <ac:picMk id="3" creationId="{96BE19FF-3DE2-64F4-3D00-97078C35063A}"/>
          </ac:picMkLst>
        </pc:picChg>
        <pc:picChg chg="del">
          <ac:chgData name="Kellermann, Demian (CYS DEF OPS-DE)" userId="0961c1fd-f967-4660-b634-1c9ce6af0b19" providerId="ADAL" clId="{513664E0-C945-4B00-AC06-F205727D86B6}" dt="2023-09-29T11:05:36.178" v="5013" actId="478"/>
          <ac:picMkLst>
            <pc:docMk/>
            <pc:sldMk cId="3989008110" sldId="1231"/>
            <ac:picMk id="12" creationId="{4B260667-F6A6-F430-47FB-57BBE86F401E}"/>
          </ac:picMkLst>
        </pc:pic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762513265" sldId="1232"/>
        </pc:sldMkLst>
      </pc:sldChg>
      <pc:sldChg chg="addSp delSp modSp add mod">
        <pc:chgData name="Kellermann, Demian (CYS DEF OPS-DE)" userId="0961c1fd-f967-4660-b634-1c9ce6af0b19" providerId="ADAL" clId="{513664E0-C945-4B00-AC06-F205727D86B6}" dt="2023-10-05T14:26:11.837" v="12173" actId="1076"/>
        <pc:sldMkLst>
          <pc:docMk/>
          <pc:sldMk cId="1176670900" sldId="1232"/>
        </pc:sldMkLst>
        <pc:spChg chg="add del">
          <ac:chgData name="Kellermann, Demian (CYS DEF OPS-DE)" userId="0961c1fd-f967-4660-b634-1c9ce6af0b19" providerId="ADAL" clId="{513664E0-C945-4B00-AC06-F205727D86B6}" dt="2023-09-29T13:50:37.680" v="5942" actId="478"/>
          <ac:spMkLst>
            <pc:docMk/>
            <pc:sldMk cId="1176670900" sldId="1232"/>
            <ac:spMk id="5" creationId="{0521A35D-ECBB-89E9-1759-5F4E40926FB2}"/>
          </ac:spMkLst>
        </pc:spChg>
        <pc:spChg chg="add mod">
          <ac:chgData name="Kellermann, Demian (CYS DEF OPS-DE)" userId="0961c1fd-f967-4660-b634-1c9ce6af0b19" providerId="ADAL" clId="{513664E0-C945-4B00-AC06-F205727D86B6}" dt="2023-09-29T14:10:42.825" v="6124" actId="164"/>
          <ac:spMkLst>
            <pc:docMk/>
            <pc:sldMk cId="1176670900" sldId="1232"/>
            <ac:spMk id="7" creationId="{43087E77-E713-3A52-EEFD-CDB0AD3FFE25}"/>
          </ac:spMkLst>
        </pc:spChg>
        <pc:spChg chg="del">
          <ac:chgData name="Kellermann, Demian (CYS DEF OPS-DE)" userId="0961c1fd-f967-4660-b634-1c9ce6af0b19" providerId="ADAL" clId="{513664E0-C945-4B00-AC06-F205727D86B6}" dt="2023-09-29T13:29:00.075" v="5887" actId="478"/>
          <ac:spMkLst>
            <pc:docMk/>
            <pc:sldMk cId="1176670900" sldId="1232"/>
            <ac:spMk id="8" creationId="{8B679F37-F4CD-86B8-C519-E36FA4A7E0A9}"/>
          </ac:spMkLst>
        </pc:spChg>
        <pc:spChg chg="add mod">
          <ac:chgData name="Kellermann, Demian (CYS DEF OPS-DE)" userId="0961c1fd-f967-4660-b634-1c9ce6af0b19" providerId="ADAL" clId="{513664E0-C945-4B00-AC06-F205727D86B6}" dt="2023-10-02T12:12:31.059" v="8020" actId="20577"/>
          <ac:spMkLst>
            <pc:docMk/>
            <pc:sldMk cId="1176670900" sldId="1232"/>
            <ac:spMk id="9" creationId="{92EE1824-87EC-75D8-AB94-6F555B477A84}"/>
          </ac:spMkLst>
        </pc:spChg>
        <pc:spChg chg="mod">
          <ac:chgData name="Kellermann, Demian (CYS DEF OPS-DE)" userId="0961c1fd-f967-4660-b634-1c9ce6af0b19" providerId="ADAL" clId="{513664E0-C945-4B00-AC06-F205727D86B6}" dt="2023-09-29T14:10:52.346" v="6125" actId="1076"/>
          <ac:spMkLst>
            <pc:docMk/>
            <pc:sldMk cId="1176670900" sldId="1232"/>
            <ac:spMk id="10" creationId="{C7E18851-BCC8-3222-B600-1674E8D25DB3}"/>
          </ac:spMkLst>
        </pc:spChg>
        <pc:spChg chg="add del mod">
          <ac:chgData name="Kellermann, Demian (CYS DEF OPS-DE)" userId="0961c1fd-f967-4660-b634-1c9ce6af0b19" providerId="ADAL" clId="{513664E0-C945-4B00-AC06-F205727D86B6}" dt="2023-09-29T13:58:37.821" v="6011" actId="478"/>
          <ac:spMkLst>
            <pc:docMk/>
            <pc:sldMk cId="1176670900" sldId="1232"/>
            <ac:spMk id="12" creationId="{9D548059-0E78-E1BB-3CF0-294F02DE1280}"/>
          </ac:spMkLst>
        </pc:spChg>
        <pc:spChg chg="add mod">
          <ac:chgData name="Kellermann, Demian (CYS DEF OPS-DE)" userId="0961c1fd-f967-4660-b634-1c9ce6af0b19" providerId="ADAL" clId="{513664E0-C945-4B00-AC06-F205727D86B6}" dt="2023-09-29T14:10:42.825" v="6124" actId="164"/>
          <ac:spMkLst>
            <pc:docMk/>
            <pc:sldMk cId="1176670900" sldId="1232"/>
            <ac:spMk id="13" creationId="{8BC13826-8ACC-D01B-19A7-8CA3A54F3439}"/>
          </ac:spMkLst>
        </pc:spChg>
        <pc:spChg chg="add mod">
          <ac:chgData name="Kellermann, Demian (CYS DEF OPS-DE)" userId="0961c1fd-f967-4660-b634-1c9ce6af0b19" providerId="ADAL" clId="{513664E0-C945-4B00-AC06-F205727D86B6}" dt="2023-09-29T14:10:42.825" v="6124" actId="164"/>
          <ac:spMkLst>
            <pc:docMk/>
            <pc:sldMk cId="1176670900" sldId="1232"/>
            <ac:spMk id="14" creationId="{C185B1D4-15ED-7B08-BBA2-B22CC002992E}"/>
          </ac:spMkLst>
        </pc:spChg>
        <pc:spChg chg="add mod">
          <ac:chgData name="Kellermann, Demian (CYS DEF OPS-DE)" userId="0961c1fd-f967-4660-b634-1c9ce6af0b19" providerId="ADAL" clId="{513664E0-C945-4B00-AC06-F205727D86B6}" dt="2023-09-29T14:10:42.825" v="6124" actId="164"/>
          <ac:spMkLst>
            <pc:docMk/>
            <pc:sldMk cId="1176670900" sldId="1232"/>
            <ac:spMk id="15" creationId="{A8E8CA91-5247-BCA5-A58C-4304520B2C74}"/>
          </ac:spMkLst>
        </pc:spChg>
        <pc:spChg chg="add mod">
          <ac:chgData name="Kellermann, Demian (CYS DEF OPS-DE)" userId="0961c1fd-f967-4660-b634-1c9ce6af0b19" providerId="ADAL" clId="{513664E0-C945-4B00-AC06-F205727D86B6}" dt="2023-09-29T14:10:42.825" v="6124" actId="164"/>
          <ac:spMkLst>
            <pc:docMk/>
            <pc:sldMk cId="1176670900" sldId="1232"/>
            <ac:spMk id="16" creationId="{66B0D913-8FCF-F1CE-0D01-1DF0DC7380B3}"/>
          </ac:spMkLst>
        </pc:spChg>
        <pc:spChg chg="add mod">
          <ac:chgData name="Kellermann, Demian (CYS DEF OPS-DE)" userId="0961c1fd-f967-4660-b634-1c9ce6af0b19" providerId="ADAL" clId="{513664E0-C945-4B00-AC06-F205727D86B6}" dt="2023-09-29T14:10:42.825" v="6124" actId="164"/>
          <ac:spMkLst>
            <pc:docMk/>
            <pc:sldMk cId="1176670900" sldId="1232"/>
            <ac:spMk id="17" creationId="{36F0471C-8C10-3217-FC6E-2FF7DF1CD41E}"/>
          </ac:spMkLst>
        </pc:spChg>
        <pc:spChg chg="add del mod">
          <ac:chgData name="Kellermann, Demian (CYS DEF OPS-DE)" userId="0961c1fd-f967-4660-b634-1c9ce6af0b19" providerId="ADAL" clId="{513664E0-C945-4B00-AC06-F205727D86B6}" dt="2023-09-29T16:33:55.496" v="7907"/>
          <ac:spMkLst>
            <pc:docMk/>
            <pc:sldMk cId="1176670900" sldId="1232"/>
            <ac:spMk id="19" creationId="{7955758C-3B40-26A8-FBCC-3EF50ADB5A25}"/>
          </ac:spMkLst>
        </pc:spChg>
        <pc:spChg chg="add mod">
          <ac:chgData name="Kellermann, Demian (CYS DEF OPS-DE)" userId="0961c1fd-f967-4660-b634-1c9ce6af0b19" providerId="ADAL" clId="{513664E0-C945-4B00-AC06-F205727D86B6}" dt="2023-09-29T16:34:20.158" v="7924" actId="1076"/>
          <ac:spMkLst>
            <pc:docMk/>
            <pc:sldMk cId="1176670900" sldId="1232"/>
            <ac:spMk id="20" creationId="{114646EE-EE02-DFE9-9CF2-BC7E5E828D1C}"/>
          </ac:spMkLst>
        </pc:spChg>
        <pc:spChg chg="add mod">
          <ac:chgData name="Kellermann, Demian (CYS DEF OPS-DE)" userId="0961c1fd-f967-4660-b634-1c9ce6af0b19" providerId="ADAL" clId="{513664E0-C945-4B00-AC06-F205727D86B6}" dt="2023-10-05T14:26:11.837" v="12173" actId="1076"/>
          <ac:spMkLst>
            <pc:docMk/>
            <pc:sldMk cId="1176670900" sldId="1232"/>
            <ac:spMk id="21" creationId="{9CD64E9F-CA54-A3E7-D673-F6E3F67E5871}"/>
          </ac:spMkLst>
        </pc:spChg>
        <pc:grpChg chg="add mod">
          <ac:chgData name="Kellermann, Demian (CYS DEF OPS-DE)" userId="0961c1fd-f967-4660-b634-1c9ce6af0b19" providerId="ADAL" clId="{513664E0-C945-4B00-AC06-F205727D86B6}" dt="2023-09-29T14:10:42.825" v="6124" actId="164"/>
          <ac:grpSpMkLst>
            <pc:docMk/>
            <pc:sldMk cId="1176670900" sldId="1232"/>
            <ac:grpSpMk id="18" creationId="{B9A765DC-9371-2A28-C91A-105ACB0D79F2}"/>
          </ac:grpSpMkLst>
        </pc:grpChg>
      </pc:sldChg>
      <pc:sldChg chg="addSp delSp modSp add mod">
        <pc:chgData name="Kellermann, Demian (CYS DEF OPS-DE)" userId="0961c1fd-f967-4660-b634-1c9ce6af0b19" providerId="ADAL" clId="{513664E0-C945-4B00-AC06-F205727D86B6}" dt="2023-10-05T14:26:28.999" v="12179"/>
        <pc:sldMkLst>
          <pc:docMk/>
          <pc:sldMk cId="812063994" sldId="1233"/>
        </pc:sldMkLst>
        <pc:spChg chg="add mod">
          <ac:chgData name="Kellermann, Demian (CYS DEF OPS-DE)" userId="0961c1fd-f967-4660-b634-1c9ce6af0b19" providerId="ADAL" clId="{513664E0-C945-4B00-AC06-F205727D86B6}" dt="2023-09-29T16:34:48.559" v="7934"/>
          <ac:spMkLst>
            <pc:docMk/>
            <pc:sldMk cId="812063994" sldId="1233"/>
            <ac:spMk id="3" creationId="{7C32F673-953F-4BDD-E2AA-F1FBC0E6BA4C}"/>
          </ac:spMkLst>
        </pc:spChg>
        <pc:spChg chg="add del mod">
          <ac:chgData name="Kellermann, Demian (CYS DEF OPS-DE)" userId="0961c1fd-f967-4660-b634-1c9ce6af0b19" providerId="ADAL" clId="{513664E0-C945-4B00-AC06-F205727D86B6}" dt="2023-10-05T14:26:28.219" v="12178" actId="478"/>
          <ac:spMkLst>
            <pc:docMk/>
            <pc:sldMk cId="812063994" sldId="1233"/>
            <ac:spMk id="5" creationId="{983A9452-4813-4F1B-1A5B-A0DB41A794DE}"/>
          </ac:spMkLst>
        </pc:spChg>
        <pc:spChg chg="mod">
          <ac:chgData name="Kellermann, Demian (CYS DEF OPS-DE)" userId="0961c1fd-f967-4660-b634-1c9ce6af0b19" providerId="ADAL" clId="{513664E0-C945-4B00-AC06-F205727D86B6}" dt="2023-09-29T14:11:20.314" v="6128" actId="207"/>
          <ac:spMkLst>
            <pc:docMk/>
            <pc:sldMk cId="812063994" sldId="1233"/>
            <ac:spMk id="7" creationId="{43087E77-E713-3A52-EEFD-CDB0AD3FFE25}"/>
          </ac:spMkLst>
        </pc:spChg>
        <pc:spChg chg="add mod">
          <ac:chgData name="Kellermann, Demian (CYS DEF OPS-DE)" userId="0961c1fd-f967-4660-b634-1c9ce6af0b19" providerId="ADAL" clId="{513664E0-C945-4B00-AC06-F205727D86B6}" dt="2023-10-05T12:21:55.561" v="11011" actId="14100"/>
          <ac:spMkLst>
            <pc:docMk/>
            <pc:sldMk cId="812063994" sldId="1233"/>
            <ac:spMk id="8" creationId="{A4E5D8CA-9FC6-3FAD-1F72-CBEB4A4EA7E0}"/>
          </ac:spMkLst>
        </pc:spChg>
        <pc:spChg chg="add del">
          <ac:chgData name="Kellermann, Demian (CYS DEF OPS-DE)" userId="0961c1fd-f967-4660-b634-1c9ce6af0b19" providerId="ADAL" clId="{513664E0-C945-4B00-AC06-F205727D86B6}" dt="2023-10-05T14:26:25.849" v="12177" actId="478"/>
          <ac:spMkLst>
            <pc:docMk/>
            <pc:sldMk cId="812063994" sldId="1233"/>
            <ac:spMk id="10" creationId="{C7E18851-BCC8-3222-B600-1674E8D25DB3}"/>
          </ac:spMkLst>
        </pc:spChg>
        <pc:spChg chg="add del mod">
          <ac:chgData name="Kellermann, Demian (CYS DEF OPS-DE)" userId="0961c1fd-f967-4660-b634-1c9ce6af0b19" providerId="ADAL" clId="{513664E0-C945-4B00-AC06-F205727D86B6}" dt="2023-10-05T14:26:22.967" v="12175"/>
          <ac:spMkLst>
            <pc:docMk/>
            <pc:sldMk cId="812063994" sldId="1233"/>
            <ac:spMk id="11" creationId="{4184FC5B-D3D4-0A4C-D44D-37168412EE0D}"/>
          </ac:spMkLst>
        </pc:spChg>
        <pc:spChg chg="add mod">
          <ac:chgData name="Kellermann, Demian (CYS DEF OPS-DE)" userId="0961c1fd-f967-4660-b634-1c9ce6af0b19" providerId="ADAL" clId="{513664E0-C945-4B00-AC06-F205727D86B6}" dt="2023-10-05T14:26:28.999" v="12179"/>
          <ac:spMkLst>
            <pc:docMk/>
            <pc:sldMk cId="812063994" sldId="1233"/>
            <ac:spMk id="12" creationId="{88C1D922-D180-D227-603B-B8BF1429F23F}"/>
          </ac:spMkLst>
        </pc:spChg>
      </pc:sldChg>
      <pc:sldChg chg="del">
        <pc:chgData name="Kellermann, Demian (CYS DEF OPS-DE)" userId="0961c1fd-f967-4660-b634-1c9ce6af0b19" providerId="ADAL" clId="{513664E0-C945-4B00-AC06-F205727D86B6}" dt="2023-09-28T11:00:49.839" v="138" actId="47"/>
        <pc:sldMkLst>
          <pc:docMk/>
          <pc:sldMk cId="3324400939" sldId="1233"/>
        </pc:sldMkLst>
      </pc:sldChg>
      <pc:sldChg chg="addSp delSp modSp add mod">
        <pc:chgData name="Kellermann, Demian (CYS DEF OPS-DE)" userId="0961c1fd-f967-4660-b634-1c9ce6af0b19" providerId="ADAL" clId="{513664E0-C945-4B00-AC06-F205727D86B6}" dt="2023-10-05T14:26:40.399" v="12181"/>
        <pc:sldMkLst>
          <pc:docMk/>
          <pc:sldMk cId="2264235835" sldId="1234"/>
        </pc:sldMkLst>
        <pc:spChg chg="add mod">
          <ac:chgData name="Kellermann, Demian (CYS DEF OPS-DE)" userId="0961c1fd-f967-4660-b634-1c9ce6af0b19" providerId="ADAL" clId="{513664E0-C945-4B00-AC06-F205727D86B6}" dt="2023-09-29T16:35:19.923" v="7944" actId="1076"/>
          <ac:spMkLst>
            <pc:docMk/>
            <pc:sldMk cId="2264235835" sldId="1234"/>
            <ac:spMk id="3" creationId="{3EDC0861-8AFD-6C77-A1A5-173E0091BDEB}"/>
          </ac:spMkLst>
        </pc:spChg>
        <pc:spChg chg="add del mod">
          <ac:chgData name="Kellermann, Demian (CYS DEF OPS-DE)" userId="0961c1fd-f967-4660-b634-1c9ce6af0b19" providerId="ADAL" clId="{513664E0-C945-4B00-AC06-F205727D86B6}" dt="2023-10-05T14:26:40.129" v="12180" actId="478"/>
          <ac:spMkLst>
            <pc:docMk/>
            <pc:sldMk cId="2264235835" sldId="1234"/>
            <ac:spMk id="5" creationId="{F5C0F0E6-AD63-C1AE-8D39-C908DD34C45A}"/>
          </ac:spMkLst>
        </pc:spChg>
        <pc:spChg chg="add mod">
          <ac:chgData name="Kellermann, Demian (CYS DEF OPS-DE)" userId="0961c1fd-f967-4660-b634-1c9ce6af0b19" providerId="ADAL" clId="{513664E0-C945-4B00-AC06-F205727D86B6}" dt="2023-10-05T14:26:40.399" v="12181"/>
          <ac:spMkLst>
            <pc:docMk/>
            <pc:sldMk cId="2264235835" sldId="1234"/>
            <ac:spMk id="8" creationId="{2E406821-8D6B-D3AA-EF02-ABF0623A85BD}"/>
          </ac:spMkLst>
        </pc:spChg>
        <pc:spChg chg="mod">
          <ac:chgData name="Kellermann, Demian (CYS DEF OPS-DE)" userId="0961c1fd-f967-4660-b634-1c9ce6af0b19" providerId="ADAL" clId="{513664E0-C945-4B00-AC06-F205727D86B6}" dt="2023-09-29T15:20:39.235" v="6950" actId="13926"/>
          <ac:spMkLst>
            <pc:docMk/>
            <pc:sldMk cId="2264235835" sldId="1234"/>
            <ac:spMk id="9" creationId="{92EE1824-87EC-75D8-AB94-6F555B477A84}"/>
          </ac:spMkLst>
        </pc:spChg>
        <pc:spChg chg="add del mod">
          <ac:chgData name="Kellermann, Demian (CYS DEF OPS-DE)" userId="0961c1fd-f967-4660-b634-1c9ce6af0b19" providerId="ADAL" clId="{513664E0-C945-4B00-AC06-F205727D86B6}" dt="2023-09-29T14:14:05.729" v="6212" actId="13926"/>
          <ac:spMkLst>
            <pc:docMk/>
            <pc:sldMk cId="2264235835" sldId="1234"/>
            <ac:spMk id="10" creationId="{C7E18851-BCC8-3222-B600-1674E8D25DB3}"/>
          </ac:spMkLst>
        </pc:spChg>
      </pc:sldChg>
      <pc:sldChg chg="addSp delSp modSp add mod">
        <pc:chgData name="Kellermann, Demian (CYS DEF OPS-DE)" userId="0961c1fd-f967-4660-b634-1c9ce6af0b19" providerId="ADAL" clId="{513664E0-C945-4B00-AC06-F205727D86B6}" dt="2023-10-02T12:22:13.819" v="8344" actId="14100"/>
        <pc:sldMkLst>
          <pc:docMk/>
          <pc:sldMk cId="3020955865" sldId="1235"/>
        </pc:sldMkLst>
        <pc:spChg chg="add mod">
          <ac:chgData name="Kellermann, Demian (CYS DEF OPS-DE)" userId="0961c1fd-f967-4660-b634-1c9ce6af0b19" providerId="ADAL" clId="{513664E0-C945-4B00-AC06-F205727D86B6}" dt="2023-10-02T12:20:27.232" v="8231" actId="13926"/>
          <ac:spMkLst>
            <pc:docMk/>
            <pc:sldMk cId="3020955865" sldId="1235"/>
            <ac:spMk id="3" creationId="{F1DF646E-7E60-DF9F-9360-53F07A03C8BF}"/>
          </ac:spMkLst>
        </pc:spChg>
        <pc:spChg chg="add del">
          <ac:chgData name="Kellermann, Demian (CYS DEF OPS-DE)" userId="0961c1fd-f967-4660-b634-1c9ce6af0b19" providerId="ADAL" clId="{513664E0-C945-4B00-AC06-F205727D86B6}" dt="2023-10-02T12:15:46.689" v="8114" actId="478"/>
          <ac:spMkLst>
            <pc:docMk/>
            <pc:sldMk cId="3020955865" sldId="1235"/>
            <ac:spMk id="5" creationId="{C7E7BAAD-187F-5ED7-3946-FD7AEA9CD98F}"/>
          </ac:spMkLst>
        </pc:spChg>
        <pc:spChg chg="mod topLvl">
          <ac:chgData name="Kellermann, Demian (CYS DEF OPS-DE)" userId="0961c1fd-f967-4660-b634-1c9ce6af0b19" providerId="ADAL" clId="{513664E0-C945-4B00-AC06-F205727D86B6}" dt="2023-09-29T15:20:54.255" v="6973" actId="1037"/>
          <ac:spMkLst>
            <pc:docMk/>
            <pc:sldMk cId="3020955865" sldId="1235"/>
            <ac:spMk id="7" creationId="{43087E77-E713-3A52-EEFD-CDB0AD3FFE25}"/>
          </ac:spMkLst>
        </pc:spChg>
        <pc:spChg chg="add del mod">
          <ac:chgData name="Kellermann, Demian (CYS DEF OPS-DE)" userId="0961c1fd-f967-4660-b634-1c9ce6af0b19" providerId="ADAL" clId="{513664E0-C945-4B00-AC06-F205727D86B6}" dt="2023-10-02T12:20:36.306" v="8232" actId="478"/>
          <ac:spMkLst>
            <pc:docMk/>
            <pc:sldMk cId="3020955865" sldId="1235"/>
            <ac:spMk id="8" creationId="{245271C7-2EDC-6109-2405-8BB24BB158A8}"/>
          </ac:spMkLst>
        </pc:spChg>
        <pc:spChg chg="add del mod">
          <ac:chgData name="Kellermann, Demian (CYS DEF OPS-DE)" userId="0961c1fd-f967-4660-b634-1c9ce6af0b19" providerId="ADAL" clId="{513664E0-C945-4B00-AC06-F205727D86B6}" dt="2023-10-02T12:16:22.104" v="8120" actId="478"/>
          <ac:spMkLst>
            <pc:docMk/>
            <pc:sldMk cId="3020955865" sldId="1235"/>
            <ac:spMk id="9" creationId="{4F6994A3-5C56-6137-0A57-DD7C20FC40E7}"/>
          </ac:spMkLst>
        </pc:spChg>
        <pc:spChg chg="del">
          <ac:chgData name="Kellermann, Demian (CYS DEF OPS-DE)" userId="0961c1fd-f967-4660-b634-1c9ce6af0b19" providerId="ADAL" clId="{513664E0-C945-4B00-AC06-F205727D86B6}" dt="2023-09-29T14:23:56.377" v="6215" actId="478"/>
          <ac:spMkLst>
            <pc:docMk/>
            <pc:sldMk cId="3020955865" sldId="1235"/>
            <ac:spMk id="9" creationId="{92EE1824-87EC-75D8-AB94-6F555B477A84}"/>
          </ac:spMkLst>
        </pc:spChg>
        <pc:spChg chg="mod">
          <ac:chgData name="Kellermann, Demian (CYS DEF OPS-DE)" userId="0961c1fd-f967-4660-b634-1c9ce6af0b19" providerId="ADAL" clId="{513664E0-C945-4B00-AC06-F205727D86B6}" dt="2023-10-02T12:21:33.814" v="8315" actId="1076"/>
          <ac:spMkLst>
            <pc:docMk/>
            <pc:sldMk cId="3020955865" sldId="1235"/>
            <ac:spMk id="10" creationId="{C7E18851-BCC8-3222-B600-1674E8D25DB3}"/>
          </ac:spMkLst>
        </pc:spChg>
        <pc:spChg chg="add del mod">
          <ac:chgData name="Kellermann, Demian (CYS DEF OPS-DE)" userId="0961c1fd-f967-4660-b634-1c9ce6af0b19" providerId="ADAL" clId="{513664E0-C945-4B00-AC06-F205727D86B6}" dt="2023-09-29T15:16:23.074" v="6850" actId="478"/>
          <ac:spMkLst>
            <pc:docMk/>
            <pc:sldMk cId="3020955865" sldId="1235"/>
            <ac:spMk id="11" creationId="{27D02A53-F59C-B65F-34A7-A3458875C497}"/>
          </ac:spMkLst>
        </pc:spChg>
        <pc:spChg chg="add del mod">
          <ac:chgData name="Kellermann, Demian (CYS DEF OPS-DE)" userId="0961c1fd-f967-4660-b634-1c9ce6af0b19" providerId="ADAL" clId="{513664E0-C945-4B00-AC06-F205727D86B6}" dt="2023-10-02T12:20:37.026" v="8233" actId="478"/>
          <ac:spMkLst>
            <pc:docMk/>
            <pc:sldMk cId="3020955865" sldId="1235"/>
            <ac:spMk id="11" creationId="{EE297D20-8C6C-B17C-65F3-1B57CDC084B3}"/>
          </ac:spMkLst>
        </pc:spChg>
        <pc:spChg chg="add del mod">
          <ac:chgData name="Kellermann, Demian (CYS DEF OPS-DE)" userId="0961c1fd-f967-4660-b634-1c9ce6af0b19" providerId="ADAL" clId="{513664E0-C945-4B00-AC06-F205727D86B6}" dt="2023-10-02T12:20:36.306" v="8232" actId="478"/>
          <ac:spMkLst>
            <pc:docMk/>
            <pc:sldMk cId="3020955865" sldId="1235"/>
            <ac:spMk id="12" creationId="{BBD83C5D-4CB8-FE6A-8EF7-8499A1321CCE}"/>
          </ac:spMkLst>
        </pc:spChg>
        <pc:spChg chg="mod topLvl">
          <ac:chgData name="Kellermann, Demian (CYS DEF OPS-DE)" userId="0961c1fd-f967-4660-b634-1c9ce6af0b19" providerId="ADAL" clId="{513664E0-C945-4B00-AC06-F205727D86B6}" dt="2023-09-29T15:20:54.255" v="6973" actId="1037"/>
          <ac:spMkLst>
            <pc:docMk/>
            <pc:sldMk cId="3020955865" sldId="1235"/>
            <ac:spMk id="13" creationId="{8BC13826-8ACC-D01B-19A7-8CA3A54F3439}"/>
          </ac:spMkLst>
        </pc:spChg>
        <pc:spChg chg="mod topLvl">
          <ac:chgData name="Kellermann, Demian (CYS DEF OPS-DE)" userId="0961c1fd-f967-4660-b634-1c9ce6af0b19" providerId="ADAL" clId="{513664E0-C945-4B00-AC06-F205727D86B6}" dt="2023-09-29T15:20:54.255" v="6973" actId="1037"/>
          <ac:spMkLst>
            <pc:docMk/>
            <pc:sldMk cId="3020955865" sldId="1235"/>
            <ac:spMk id="14" creationId="{C185B1D4-15ED-7B08-BBA2-B22CC002992E}"/>
          </ac:spMkLst>
        </pc:spChg>
        <pc:spChg chg="mod topLvl">
          <ac:chgData name="Kellermann, Demian (CYS DEF OPS-DE)" userId="0961c1fd-f967-4660-b634-1c9ce6af0b19" providerId="ADAL" clId="{513664E0-C945-4B00-AC06-F205727D86B6}" dt="2023-09-29T15:20:54.255" v="6973" actId="1037"/>
          <ac:spMkLst>
            <pc:docMk/>
            <pc:sldMk cId="3020955865" sldId="1235"/>
            <ac:spMk id="15" creationId="{A8E8CA91-5247-BCA5-A58C-4304520B2C74}"/>
          </ac:spMkLst>
        </pc:spChg>
        <pc:spChg chg="mod topLvl">
          <ac:chgData name="Kellermann, Demian (CYS DEF OPS-DE)" userId="0961c1fd-f967-4660-b634-1c9ce6af0b19" providerId="ADAL" clId="{513664E0-C945-4B00-AC06-F205727D86B6}" dt="2023-09-29T15:20:54.255" v="6973" actId="1037"/>
          <ac:spMkLst>
            <pc:docMk/>
            <pc:sldMk cId="3020955865" sldId="1235"/>
            <ac:spMk id="16" creationId="{66B0D913-8FCF-F1CE-0D01-1DF0DC7380B3}"/>
          </ac:spMkLst>
        </pc:spChg>
        <pc:spChg chg="mod topLvl">
          <ac:chgData name="Kellermann, Demian (CYS DEF OPS-DE)" userId="0961c1fd-f967-4660-b634-1c9ce6af0b19" providerId="ADAL" clId="{513664E0-C945-4B00-AC06-F205727D86B6}" dt="2023-09-29T15:20:54.255" v="6973" actId="1037"/>
          <ac:spMkLst>
            <pc:docMk/>
            <pc:sldMk cId="3020955865" sldId="1235"/>
            <ac:spMk id="17" creationId="{36F0471C-8C10-3217-FC6E-2FF7DF1CD41E}"/>
          </ac:spMkLst>
        </pc:spChg>
        <pc:spChg chg="add mod">
          <ac:chgData name="Kellermann, Demian (CYS DEF OPS-DE)" userId="0961c1fd-f967-4660-b634-1c9ce6af0b19" providerId="ADAL" clId="{513664E0-C945-4B00-AC06-F205727D86B6}" dt="2023-10-02T12:22:13.819" v="8344" actId="14100"/>
          <ac:spMkLst>
            <pc:docMk/>
            <pc:sldMk cId="3020955865" sldId="1235"/>
            <ac:spMk id="18" creationId="{9FB9467F-525B-59E6-F947-9ED3BCA4616D}"/>
          </ac:spMkLst>
        </pc:spChg>
        <pc:spChg chg="add mod">
          <ac:chgData name="Kellermann, Demian (CYS DEF OPS-DE)" userId="0961c1fd-f967-4660-b634-1c9ce6af0b19" providerId="ADAL" clId="{513664E0-C945-4B00-AC06-F205727D86B6}" dt="2023-10-02T12:21:37.384" v="8316" actId="1076"/>
          <ac:spMkLst>
            <pc:docMk/>
            <pc:sldMk cId="3020955865" sldId="1235"/>
            <ac:spMk id="19" creationId="{D3F7E466-BE88-B9F2-CFBA-3EBB7210573E}"/>
          </ac:spMkLst>
        </pc:spChg>
        <pc:spChg chg="add del mod">
          <ac:chgData name="Kellermann, Demian (CYS DEF OPS-DE)" userId="0961c1fd-f967-4660-b634-1c9ce6af0b19" providerId="ADAL" clId="{513664E0-C945-4B00-AC06-F205727D86B6}" dt="2023-10-02T12:20:38.211" v="8234" actId="478"/>
          <ac:spMkLst>
            <pc:docMk/>
            <pc:sldMk cId="3020955865" sldId="1235"/>
            <ac:spMk id="20" creationId="{A5BDFCE6-0858-20C6-71DF-57161E77F46E}"/>
          </ac:spMkLst>
        </pc:spChg>
        <pc:grpChg chg="add del mod">
          <ac:chgData name="Kellermann, Demian (CYS DEF OPS-DE)" userId="0961c1fd-f967-4660-b634-1c9ce6af0b19" providerId="ADAL" clId="{513664E0-C945-4B00-AC06-F205727D86B6}" dt="2023-09-29T14:24:29.438" v="6298" actId="165"/>
          <ac:grpSpMkLst>
            <pc:docMk/>
            <pc:sldMk cId="3020955865" sldId="1235"/>
            <ac:grpSpMk id="18" creationId="{B9A765DC-9371-2A28-C91A-105ACB0D79F2}"/>
          </ac:grpSpMkLst>
        </pc:grpChg>
      </pc:sldChg>
      <pc:sldChg chg="addSp delSp modSp add mod">
        <pc:chgData name="Kellermann, Demian (CYS DEF OPS-DE)" userId="0961c1fd-f967-4660-b634-1c9ce6af0b19" providerId="ADAL" clId="{513664E0-C945-4B00-AC06-F205727D86B6}" dt="2023-10-05T12:25:00.600" v="11019" actId="122"/>
        <pc:sldMkLst>
          <pc:docMk/>
          <pc:sldMk cId="1018627471" sldId="1236"/>
        </pc:sldMkLst>
        <pc:spChg chg="mod">
          <ac:chgData name="Kellermann, Demian (CYS DEF OPS-DE)" userId="0961c1fd-f967-4660-b634-1c9ce6af0b19" providerId="ADAL" clId="{513664E0-C945-4B00-AC06-F205727D86B6}" dt="2023-09-29T15:16:42.666" v="6859" actId="1076"/>
          <ac:spMkLst>
            <pc:docMk/>
            <pc:sldMk cId="1018627471" sldId="1236"/>
            <ac:spMk id="3" creationId="{F1DF646E-7E60-DF9F-9360-53F07A03C8BF}"/>
          </ac:spMkLst>
        </pc:spChg>
        <pc:spChg chg="add mod">
          <ac:chgData name="Kellermann, Demian (CYS DEF OPS-DE)" userId="0961c1fd-f967-4660-b634-1c9ce6af0b19" providerId="ADAL" clId="{513664E0-C945-4B00-AC06-F205727D86B6}" dt="2023-10-05T12:25:00.600" v="11019" actId="122"/>
          <ac:spMkLst>
            <pc:docMk/>
            <pc:sldMk cId="1018627471" sldId="1236"/>
            <ac:spMk id="5" creationId="{111A6B76-725F-0148-11F6-29CA1752A11F}"/>
          </ac:spMkLst>
        </pc:spChg>
        <pc:spChg chg="add del mod">
          <ac:chgData name="Kellermann, Demian (CYS DEF OPS-DE)" userId="0961c1fd-f967-4660-b634-1c9ce6af0b19" providerId="ADAL" clId="{513664E0-C945-4B00-AC06-F205727D86B6}" dt="2023-09-29T16:03:19.598" v="6985" actId="767"/>
          <ac:spMkLst>
            <pc:docMk/>
            <pc:sldMk cId="1018627471" sldId="1236"/>
            <ac:spMk id="5" creationId="{79158A57-4C45-529D-353B-7A199C3CDFFC}"/>
          </ac:spMkLst>
        </pc:spChg>
        <pc:spChg chg="del">
          <ac:chgData name="Kellermann, Demian (CYS DEF OPS-DE)" userId="0961c1fd-f967-4660-b634-1c9ce6af0b19" providerId="ADAL" clId="{513664E0-C945-4B00-AC06-F205727D86B6}" dt="2023-09-29T15:16:34.459" v="6852" actId="478"/>
          <ac:spMkLst>
            <pc:docMk/>
            <pc:sldMk cId="1018627471" sldId="1236"/>
            <ac:spMk id="7" creationId="{43087E77-E713-3A52-EEFD-CDB0AD3FFE25}"/>
          </ac:spMkLst>
        </pc:spChg>
        <pc:spChg chg="add mod">
          <ac:chgData name="Kellermann, Demian (CYS DEF OPS-DE)" userId="0961c1fd-f967-4660-b634-1c9ce6af0b19" providerId="ADAL" clId="{513664E0-C945-4B00-AC06-F205727D86B6}" dt="2023-09-29T16:04:12.715" v="7139" actId="1076"/>
          <ac:spMkLst>
            <pc:docMk/>
            <pc:sldMk cId="1018627471" sldId="1236"/>
            <ac:spMk id="9" creationId="{940D5176-A258-611C-9E44-899E110AC53A}"/>
          </ac:spMkLst>
        </pc:spChg>
        <pc:spChg chg="mod">
          <ac:chgData name="Kellermann, Demian (CYS DEF OPS-DE)" userId="0961c1fd-f967-4660-b634-1c9ce6af0b19" providerId="ADAL" clId="{513664E0-C945-4B00-AC06-F205727D86B6}" dt="2023-09-29T15:51:18.769" v="6975" actId="1076"/>
          <ac:spMkLst>
            <pc:docMk/>
            <pc:sldMk cId="1018627471" sldId="1236"/>
            <ac:spMk id="11" creationId="{27D02A53-F59C-B65F-34A7-A3458875C497}"/>
          </ac:spMkLst>
        </pc:spChg>
        <pc:spChg chg="add mod">
          <ac:chgData name="Kellermann, Demian (CYS DEF OPS-DE)" userId="0961c1fd-f967-4660-b634-1c9ce6af0b19" providerId="ADAL" clId="{513664E0-C945-4B00-AC06-F205727D86B6}" dt="2023-09-29T16:36:54.277" v="7965"/>
          <ac:spMkLst>
            <pc:docMk/>
            <pc:sldMk cId="1018627471" sldId="1236"/>
            <ac:spMk id="12" creationId="{A4866DF2-BC2D-4B31-9723-49D84B5C1F7A}"/>
          </ac:spMkLst>
        </pc:spChg>
        <pc:spChg chg="del">
          <ac:chgData name="Kellermann, Demian (CYS DEF OPS-DE)" userId="0961c1fd-f967-4660-b634-1c9ce6af0b19" providerId="ADAL" clId="{513664E0-C945-4B00-AC06-F205727D86B6}" dt="2023-09-29T15:16:37.781" v="6857" actId="478"/>
          <ac:spMkLst>
            <pc:docMk/>
            <pc:sldMk cId="1018627471" sldId="1236"/>
            <ac:spMk id="13" creationId="{8BC13826-8ACC-D01B-19A7-8CA3A54F3439}"/>
          </ac:spMkLst>
        </pc:spChg>
        <pc:spChg chg="del mod">
          <ac:chgData name="Kellermann, Demian (CYS DEF OPS-DE)" userId="0961c1fd-f967-4660-b634-1c9ce6af0b19" providerId="ADAL" clId="{513664E0-C945-4B00-AC06-F205727D86B6}" dt="2023-09-29T15:16:37.095" v="6856" actId="478"/>
          <ac:spMkLst>
            <pc:docMk/>
            <pc:sldMk cId="1018627471" sldId="1236"/>
            <ac:spMk id="14" creationId="{C185B1D4-15ED-7B08-BBA2-B22CC002992E}"/>
          </ac:spMkLst>
        </pc:spChg>
        <pc:spChg chg="del">
          <ac:chgData name="Kellermann, Demian (CYS DEF OPS-DE)" userId="0961c1fd-f967-4660-b634-1c9ce6af0b19" providerId="ADAL" clId="{513664E0-C945-4B00-AC06-F205727D86B6}" dt="2023-09-29T15:16:34.986" v="6853" actId="478"/>
          <ac:spMkLst>
            <pc:docMk/>
            <pc:sldMk cId="1018627471" sldId="1236"/>
            <ac:spMk id="15" creationId="{A8E8CA91-5247-BCA5-A58C-4304520B2C74}"/>
          </ac:spMkLst>
        </pc:spChg>
        <pc:spChg chg="del">
          <ac:chgData name="Kellermann, Demian (CYS DEF OPS-DE)" userId="0961c1fd-f967-4660-b634-1c9ce6af0b19" providerId="ADAL" clId="{513664E0-C945-4B00-AC06-F205727D86B6}" dt="2023-09-29T15:16:36.439" v="6855" actId="478"/>
          <ac:spMkLst>
            <pc:docMk/>
            <pc:sldMk cId="1018627471" sldId="1236"/>
            <ac:spMk id="16" creationId="{66B0D913-8FCF-F1CE-0D01-1DF0DC7380B3}"/>
          </ac:spMkLst>
        </pc:spChg>
        <pc:spChg chg="del">
          <ac:chgData name="Kellermann, Demian (CYS DEF OPS-DE)" userId="0961c1fd-f967-4660-b634-1c9ce6af0b19" providerId="ADAL" clId="{513664E0-C945-4B00-AC06-F205727D86B6}" dt="2023-09-29T15:16:38.459" v="6858" actId="478"/>
          <ac:spMkLst>
            <pc:docMk/>
            <pc:sldMk cId="1018627471" sldId="1236"/>
            <ac:spMk id="17" creationId="{36F0471C-8C10-3217-FC6E-2FF7DF1CD41E}"/>
          </ac:spMkLst>
        </pc:spChg>
        <pc:spChg chg="add mod">
          <ac:chgData name="Kellermann, Demian (CYS DEF OPS-DE)" userId="0961c1fd-f967-4660-b634-1c9ce6af0b19" providerId="ADAL" clId="{513664E0-C945-4B00-AC06-F205727D86B6}" dt="2023-09-29T16:36:54.277" v="7965"/>
          <ac:spMkLst>
            <pc:docMk/>
            <pc:sldMk cId="1018627471" sldId="1236"/>
            <ac:spMk id="18" creationId="{04A02234-4336-4E05-ACDE-C5E75E619751}"/>
          </ac:spMkLst>
        </pc:spChg>
        <pc:spChg chg="add mod">
          <ac:chgData name="Kellermann, Demian (CYS DEF OPS-DE)" userId="0961c1fd-f967-4660-b634-1c9ce6af0b19" providerId="ADAL" clId="{513664E0-C945-4B00-AC06-F205727D86B6}" dt="2023-09-29T16:37:08.414" v="7975" actId="1076"/>
          <ac:spMkLst>
            <pc:docMk/>
            <pc:sldMk cId="1018627471" sldId="1236"/>
            <ac:spMk id="19" creationId="{F5DAB224-40DA-48A6-4497-9F7E54AC6EF9}"/>
          </ac:spMkLst>
        </pc:spChg>
      </pc:sldChg>
      <pc:sldChg chg="addSp delSp modSp add mod">
        <pc:chgData name="Kellermann, Demian (CYS DEF OPS-DE)" userId="0961c1fd-f967-4660-b634-1c9ce6af0b19" providerId="ADAL" clId="{513664E0-C945-4B00-AC06-F205727D86B6}" dt="2023-09-29T16:06:28.212" v="7145" actId="1076"/>
        <pc:sldMkLst>
          <pc:docMk/>
          <pc:sldMk cId="2679225841" sldId="1237"/>
        </pc:sldMkLst>
        <pc:spChg chg="del">
          <ac:chgData name="Kellermann, Demian (CYS DEF OPS-DE)" userId="0961c1fd-f967-4660-b634-1c9ce6af0b19" providerId="ADAL" clId="{513664E0-C945-4B00-AC06-F205727D86B6}" dt="2023-09-29T16:04:52.995" v="7141" actId="478"/>
          <ac:spMkLst>
            <pc:docMk/>
            <pc:sldMk cId="2679225841" sldId="1237"/>
            <ac:spMk id="3" creationId="{F1DF646E-7E60-DF9F-9360-53F07A03C8BF}"/>
          </ac:spMkLst>
        </pc:spChg>
        <pc:spChg chg="del">
          <ac:chgData name="Kellermann, Demian (CYS DEF OPS-DE)" userId="0961c1fd-f967-4660-b634-1c9ce6af0b19" providerId="ADAL" clId="{513664E0-C945-4B00-AC06-F205727D86B6}" dt="2023-09-29T16:04:52.995" v="7141" actId="478"/>
          <ac:spMkLst>
            <pc:docMk/>
            <pc:sldMk cId="2679225841" sldId="1237"/>
            <ac:spMk id="8" creationId="{245271C7-2EDC-6109-2405-8BB24BB158A8}"/>
          </ac:spMkLst>
        </pc:spChg>
        <pc:spChg chg="del">
          <ac:chgData name="Kellermann, Demian (CYS DEF OPS-DE)" userId="0961c1fd-f967-4660-b634-1c9ce6af0b19" providerId="ADAL" clId="{513664E0-C945-4B00-AC06-F205727D86B6}" dt="2023-09-29T16:04:52.995" v="7141" actId="478"/>
          <ac:spMkLst>
            <pc:docMk/>
            <pc:sldMk cId="2679225841" sldId="1237"/>
            <ac:spMk id="9" creationId="{940D5176-A258-611C-9E44-899E110AC53A}"/>
          </ac:spMkLst>
        </pc:spChg>
        <pc:spChg chg="del">
          <ac:chgData name="Kellermann, Demian (CYS DEF OPS-DE)" userId="0961c1fd-f967-4660-b634-1c9ce6af0b19" providerId="ADAL" clId="{513664E0-C945-4B00-AC06-F205727D86B6}" dt="2023-09-29T16:04:54.165" v="7142" actId="478"/>
          <ac:spMkLst>
            <pc:docMk/>
            <pc:sldMk cId="2679225841" sldId="1237"/>
            <ac:spMk id="10" creationId="{C7E18851-BCC8-3222-B600-1674E8D25DB3}"/>
          </ac:spMkLst>
        </pc:spChg>
        <pc:spChg chg="del">
          <ac:chgData name="Kellermann, Demian (CYS DEF OPS-DE)" userId="0961c1fd-f967-4660-b634-1c9ce6af0b19" providerId="ADAL" clId="{513664E0-C945-4B00-AC06-F205727D86B6}" dt="2023-09-29T16:04:52.995" v="7141" actId="478"/>
          <ac:spMkLst>
            <pc:docMk/>
            <pc:sldMk cId="2679225841" sldId="1237"/>
            <ac:spMk id="11" creationId="{27D02A53-F59C-B65F-34A7-A3458875C497}"/>
          </ac:spMkLst>
        </pc:spChg>
        <pc:picChg chg="add mod">
          <ac:chgData name="Kellermann, Demian (CYS DEF OPS-DE)" userId="0961c1fd-f967-4660-b634-1c9ce6af0b19" providerId="ADAL" clId="{513664E0-C945-4B00-AC06-F205727D86B6}" dt="2023-09-29T16:06:28.212" v="7145" actId="1076"/>
          <ac:picMkLst>
            <pc:docMk/>
            <pc:sldMk cId="2679225841" sldId="1237"/>
            <ac:picMk id="7" creationId="{A86DA499-06A1-2B50-D1BF-86EAC28DCF6C}"/>
          </ac:picMkLst>
        </pc:picChg>
      </pc:sldChg>
      <pc:sldChg chg="addSp delSp modSp add mod modAnim">
        <pc:chgData name="Kellermann, Demian (CYS DEF OPS-DE)" userId="0961c1fd-f967-4660-b634-1c9ce6af0b19" providerId="ADAL" clId="{513664E0-C945-4B00-AC06-F205727D86B6}" dt="2023-10-05T14:25:13.083" v="12164"/>
        <pc:sldMkLst>
          <pc:docMk/>
          <pc:sldMk cId="1840912567" sldId="1238"/>
        </pc:sldMkLst>
        <pc:spChg chg="add mod">
          <ac:chgData name="Kellermann, Demian (CYS DEF OPS-DE)" userId="0961c1fd-f967-4660-b634-1c9ce6af0b19" providerId="ADAL" clId="{513664E0-C945-4B00-AC06-F205727D86B6}" dt="2023-10-05T12:13:35.689" v="10813" actId="1076"/>
          <ac:spMkLst>
            <pc:docMk/>
            <pc:sldMk cId="1840912567" sldId="1238"/>
            <ac:spMk id="3" creationId="{2F939899-0B69-ECE8-5892-F90F8B5791E1}"/>
          </ac:spMkLst>
        </pc:spChg>
        <pc:spChg chg="add mod">
          <ac:chgData name="Kellermann, Demian (CYS DEF OPS-DE)" userId="0961c1fd-f967-4660-b634-1c9ce6af0b19" providerId="ADAL" clId="{513664E0-C945-4B00-AC06-F205727D86B6}" dt="2023-10-05T12:14:14.735" v="10878" actId="20577"/>
          <ac:spMkLst>
            <pc:docMk/>
            <pc:sldMk cId="1840912567" sldId="1238"/>
            <ac:spMk id="5" creationId="{247FDB5F-93FD-7659-D795-5E259AE562C3}"/>
          </ac:spMkLst>
        </pc:spChg>
        <pc:spChg chg="add del mod">
          <ac:chgData name="Kellermann, Demian (CYS DEF OPS-DE)" userId="0961c1fd-f967-4660-b634-1c9ce6af0b19" providerId="ADAL" clId="{513664E0-C945-4B00-AC06-F205727D86B6}" dt="2023-10-05T12:15:27.994" v="10919" actId="478"/>
          <ac:spMkLst>
            <pc:docMk/>
            <pc:sldMk cId="1840912567" sldId="1238"/>
            <ac:spMk id="7" creationId="{B98BE230-709F-2EA6-8E01-16700947B1CE}"/>
          </ac:spMkLst>
        </pc:spChg>
        <pc:spChg chg="del mod">
          <ac:chgData name="Kellermann, Demian (CYS DEF OPS-DE)" userId="0961c1fd-f967-4660-b634-1c9ce6af0b19" providerId="ADAL" clId="{513664E0-C945-4B00-AC06-F205727D86B6}" dt="2023-10-05T12:11:49.773" v="10777" actId="478"/>
          <ac:spMkLst>
            <pc:docMk/>
            <pc:sldMk cId="1840912567" sldId="1238"/>
            <ac:spMk id="8" creationId="{8B679F37-F4CD-86B8-C519-E36FA4A7E0A9}"/>
          </ac:spMkLst>
        </pc:spChg>
        <pc:spChg chg="mod">
          <ac:chgData name="Kellermann, Demian (CYS DEF OPS-DE)" userId="0961c1fd-f967-4660-b634-1c9ce6af0b19" providerId="ADAL" clId="{513664E0-C945-4B00-AC06-F205727D86B6}" dt="2023-10-05T12:14:50.044" v="10916" actId="20577"/>
          <ac:spMkLst>
            <pc:docMk/>
            <pc:sldMk cId="1840912567" sldId="1238"/>
            <ac:spMk id="10" creationId="{C7E18851-BCC8-3222-B600-1674E8D25DB3}"/>
          </ac:spMkLst>
        </pc:spChg>
        <pc:spChg chg="mod">
          <ac:chgData name="Kellermann, Demian (CYS DEF OPS-DE)" userId="0961c1fd-f967-4660-b634-1c9ce6af0b19" providerId="ADAL" clId="{513664E0-C945-4B00-AC06-F205727D86B6}" dt="2023-10-05T12:16:25.141" v="10925" actId="34135"/>
          <ac:spMkLst>
            <pc:docMk/>
            <pc:sldMk cId="1840912567" sldId="1238"/>
            <ac:spMk id="11" creationId="{1E740468-2288-25C7-D3D3-AD128F001D31}"/>
          </ac:spMkLst>
        </pc:spChg>
        <pc:spChg chg="mod">
          <ac:chgData name="Kellermann, Demian (CYS DEF OPS-DE)" userId="0961c1fd-f967-4660-b634-1c9ce6af0b19" providerId="ADAL" clId="{513664E0-C945-4B00-AC06-F205727D86B6}" dt="2023-10-05T12:17:18.331" v="10933" actId="1076"/>
          <ac:spMkLst>
            <pc:docMk/>
            <pc:sldMk cId="1840912567" sldId="1238"/>
            <ac:spMk id="12" creationId="{7852E1C9-85F9-B3E4-9DED-F14FB007B213}"/>
          </ac:spMkLst>
        </pc:spChg>
        <pc:spChg chg="del mod">
          <ac:chgData name="Kellermann, Demian (CYS DEF OPS-DE)" userId="0961c1fd-f967-4660-b634-1c9ce6af0b19" providerId="ADAL" clId="{513664E0-C945-4B00-AC06-F205727D86B6}" dt="2023-10-05T12:16:57.587" v="10930" actId="478"/>
          <ac:spMkLst>
            <pc:docMk/>
            <pc:sldMk cId="1840912567" sldId="1238"/>
            <ac:spMk id="13" creationId="{EFD017D7-CBB0-4FA2-FC53-BD8CAA4EA122}"/>
          </ac:spMkLst>
        </pc:spChg>
        <pc:spChg chg="del mod">
          <ac:chgData name="Kellermann, Demian (CYS DEF OPS-DE)" userId="0961c1fd-f967-4660-b634-1c9ce6af0b19" providerId="ADAL" clId="{513664E0-C945-4B00-AC06-F205727D86B6}" dt="2023-10-05T12:16:55.397" v="10929" actId="478"/>
          <ac:spMkLst>
            <pc:docMk/>
            <pc:sldMk cId="1840912567" sldId="1238"/>
            <ac:spMk id="14" creationId="{65DCC6AF-6130-A717-780E-302972B163CD}"/>
          </ac:spMkLst>
        </pc:spChg>
        <pc:spChg chg="del mod">
          <ac:chgData name="Kellermann, Demian (CYS DEF OPS-DE)" userId="0961c1fd-f967-4660-b634-1c9ce6af0b19" providerId="ADAL" clId="{513664E0-C945-4B00-AC06-F205727D86B6}" dt="2023-10-05T12:16:50.447" v="10926" actId="478"/>
          <ac:spMkLst>
            <pc:docMk/>
            <pc:sldMk cId="1840912567" sldId="1238"/>
            <ac:spMk id="15" creationId="{86F820AE-AA41-FCE2-2D85-4D713A906934}"/>
          </ac:spMkLst>
        </pc:spChg>
        <pc:spChg chg="mod">
          <ac:chgData name="Kellermann, Demian (CYS DEF OPS-DE)" userId="0961c1fd-f967-4660-b634-1c9ce6af0b19" providerId="ADAL" clId="{513664E0-C945-4B00-AC06-F205727D86B6}" dt="2023-10-05T12:17:15.316" v="10932" actId="1076"/>
          <ac:spMkLst>
            <pc:docMk/>
            <pc:sldMk cId="1840912567" sldId="1238"/>
            <ac:spMk id="16" creationId="{1288D2CA-EABA-1426-7746-2402546185C1}"/>
          </ac:spMkLst>
        </pc:spChg>
        <pc:spChg chg="add mod">
          <ac:chgData name="Kellermann, Demian (CYS DEF OPS-DE)" userId="0961c1fd-f967-4660-b634-1c9ce6af0b19" providerId="ADAL" clId="{513664E0-C945-4B00-AC06-F205727D86B6}" dt="2023-10-05T12:18:21.542" v="10999" actId="14100"/>
          <ac:spMkLst>
            <pc:docMk/>
            <pc:sldMk cId="1840912567" sldId="1238"/>
            <ac:spMk id="17" creationId="{D904EFD2-4EC1-B598-0D88-86AC6B01E029}"/>
          </ac:spMkLst>
        </pc:spChg>
        <pc:grpChg chg="add del mod">
          <ac:chgData name="Kellermann, Demian (CYS DEF OPS-DE)" userId="0961c1fd-f967-4660-b634-1c9ce6af0b19" providerId="ADAL" clId="{513664E0-C945-4B00-AC06-F205727D86B6}" dt="2023-10-05T12:17:30.331" v="10934" actId="1076"/>
          <ac:grpSpMkLst>
            <pc:docMk/>
            <pc:sldMk cId="1840912567" sldId="1238"/>
            <ac:grpSpMk id="9" creationId="{693C022F-8A9C-75B4-6FB3-9B85E2987299}"/>
          </ac:grpSpMkLst>
        </pc:grpChg>
        <pc:picChg chg="add mod">
          <ac:chgData name="Kellermann, Demian (CYS DEF OPS-DE)" userId="0961c1fd-f967-4660-b634-1c9ce6af0b19" providerId="ADAL" clId="{513664E0-C945-4B00-AC06-F205727D86B6}" dt="2023-10-05T12:19:43.382" v="11007" actId="1076"/>
          <ac:picMkLst>
            <pc:docMk/>
            <pc:sldMk cId="1840912567" sldId="1238"/>
            <ac:picMk id="19" creationId="{C07E9852-10BF-3DF6-BD68-FD7CCA19A524}"/>
          </ac:picMkLst>
        </pc:picChg>
        <pc:picChg chg="add mod">
          <ac:chgData name="Kellermann, Demian (CYS DEF OPS-DE)" userId="0961c1fd-f967-4660-b634-1c9ce6af0b19" providerId="ADAL" clId="{513664E0-C945-4B00-AC06-F205727D86B6}" dt="2023-10-05T12:19:47.462" v="11008" actId="1076"/>
          <ac:picMkLst>
            <pc:docMk/>
            <pc:sldMk cId="1840912567" sldId="1238"/>
            <ac:picMk id="21" creationId="{501BB3E4-CCC9-D900-59E7-56BB2AE302EF}"/>
          </ac:picMkLst>
        </pc:picChg>
      </pc:sldChg>
      <pc:sldChg chg="addSp delSp modSp add mod">
        <pc:chgData name="Kellermann, Demian (CYS DEF OPS-DE)" userId="0961c1fd-f967-4660-b634-1c9ce6af0b19" providerId="ADAL" clId="{513664E0-C945-4B00-AC06-F205727D86B6}" dt="2023-10-05T12:32:20.339" v="11085" actId="6549"/>
        <pc:sldMkLst>
          <pc:docMk/>
          <pc:sldMk cId="2111052806" sldId="1239"/>
        </pc:sldMkLst>
        <pc:spChg chg="mod">
          <ac:chgData name="Kellermann, Demian (CYS DEF OPS-DE)" userId="0961c1fd-f967-4660-b634-1c9ce6af0b19" providerId="ADAL" clId="{513664E0-C945-4B00-AC06-F205727D86B6}" dt="2023-10-02T12:31:35.749" v="8540" actId="20577"/>
          <ac:spMkLst>
            <pc:docMk/>
            <pc:sldMk cId="2111052806" sldId="1239"/>
            <ac:spMk id="2" creationId="{813C3CFC-9697-4716-A651-26E69FE6AB0F}"/>
          </ac:spMkLst>
        </pc:spChg>
        <pc:spChg chg="add del mod">
          <ac:chgData name="Kellermann, Demian (CYS DEF OPS-DE)" userId="0961c1fd-f967-4660-b634-1c9ce6af0b19" providerId="ADAL" clId="{513664E0-C945-4B00-AC06-F205727D86B6}" dt="2023-10-02T12:44:55.599" v="8542"/>
          <ac:spMkLst>
            <pc:docMk/>
            <pc:sldMk cId="2111052806" sldId="1239"/>
            <ac:spMk id="3" creationId="{4AB75B18-C8F2-8AFF-9982-63D80FF7F55D}"/>
          </ac:spMkLst>
        </pc:spChg>
        <pc:spChg chg="add mod">
          <ac:chgData name="Kellermann, Demian (CYS DEF OPS-DE)" userId="0961c1fd-f967-4660-b634-1c9ce6af0b19" providerId="ADAL" clId="{513664E0-C945-4B00-AC06-F205727D86B6}" dt="2023-10-05T12:32:20.339" v="11085" actId="6549"/>
          <ac:spMkLst>
            <pc:docMk/>
            <pc:sldMk cId="2111052806" sldId="1239"/>
            <ac:spMk id="5" creationId="{1C5FE09E-2561-D1D6-73B5-616A096CE3CE}"/>
          </ac:spMkLst>
        </pc:spChg>
        <pc:spChg chg="add del">
          <ac:chgData name="Kellermann, Demian (CYS DEF OPS-DE)" userId="0961c1fd-f967-4660-b634-1c9ce6af0b19" providerId="ADAL" clId="{513664E0-C945-4B00-AC06-F205727D86B6}" dt="2023-10-02T13:42:34.682" v="9189" actId="22"/>
          <ac:spMkLst>
            <pc:docMk/>
            <pc:sldMk cId="2111052806" sldId="1239"/>
            <ac:spMk id="8" creationId="{1F87227B-BDD0-D890-AF36-74ECDD787911}"/>
          </ac:spMkLst>
        </pc:spChg>
        <pc:picChg chg="del">
          <ac:chgData name="Kellermann, Demian (CYS DEF OPS-DE)" userId="0961c1fd-f967-4660-b634-1c9ce6af0b19" providerId="ADAL" clId="{513664E0-C945-4B00-AC06-F205727D86B6}" dt="2023-09-29T16:39:27.987" v="8018" actId="478"/>
          <ac:picMkLst>
            <pc:docMk/>
            <pc:sldMk cId="2111052806" sldId="1239"/>
            <ac:picMk id="7" creationId="{A86DA499-06A1-2B50-D1BF-86EAC28DCF6C}"/>
          </ac:picMkLst>
        </pc:picChg>
      </pc:sldChg>
      <pc:sldChg chg="delSp modSp add mod">
        <pc:chgData name="Kellermann, Demian (CYS DEF OPS-DE)" userId="0961c1fd-f967-4660-b634-1c9ce6af0b19" providerId="ADAL" clId="{513664E0-C945-4B00-AC06-F205727D86B6}" dt="2023-10-05T12:23:47.626" v="11017" actId="13926"/>
        <pc:sldMkLst>
          <pc:docMk/>
          <pc:sldMk cId="3464376573" sldId="1240"/>
        </pc:sldMkLst>
        <pc:spChg chg="mod">
          <ac:chgData name="Kellermann, Demian (CYS DEF OPS-DE)" userId="0961c1fd-f967-4660-b634-1c9ce6af0b19" providerId="ADAL" clId="{513664E0-C945-4B00-AC06-F205727D86B6}" dt="2023-10-05T12:23:47.626" v="11017" actId="13926"/>
          <ac:spMkLst>
            <pc:docMk/>
            <pc:sldMk cId="3464376573" sldId="1240"/>
            <ac:spMk id="3" creationId="{F1DF646E-7E60-DF9F-9360-53F07A03C8BF}"/>
          </ac:spMkLst>
        </pc:spChg>
        <pc:spChg chg="del">
          <ac:chgData name="Kellermann, Demian (CYS DEF OPS-DE)" userId="0961c1fd-f967-4660-b634-1c9ce6af0b19" providerId="ADAL" clId="{513664E0-C945-4B00-AC06-F205727D86B6}" dt="2023-10-05T12:23:40.995" v="11015" actId="478"/>
          <ac:spMkLst>
            <pc:docMk/>
            <pc:sldMk cId="3464376573" sldId="1240"/>
            <ac:spMk id="8" creationId="{245271C7-2EDC-6109-2405-8BB24BB158A8}"/>
          </ac:spMkLst>
        </pc:spChg>
        <pc:spChg chg="del mod">
          <ac:chgData name="Kellermann, Demian (CYS DEF OPS-DE)" userId="0961c1fd-f967-4660-b634-1c9ce6af0b19" providerId="ADAL" clId="{513664E0-C945-4B00-AC06-F205727D86B6}" dt="2023-10-05T12:23:39.464" v="11014" actId="478"/>
          <ac:spMkLst>
            <pc:docMk/>
            <pc:sldMk cId="3464376573" sldId="1240"/>
            <ac:spMk id="11" creationId="{EE297D20-8C6C-B17C-65F3-1B57CDC084B3}"/>
          </ac:spMkLst>
        </pc:spChg>
        <pc:spChg chg="del">
          <ac:chgData name="Kellermann, Demian (CYS DEF OPS-DE)" userId="0961c1fd-f967-4660-b634-1c9ce6af0b19" providerId="ADAL" clId="{513664E0-C945-4B00-AC06-F205727D86B6}" dt="2023-10-05T12:23:43.185" v="11016" actId="478"/>
          <ac:spMkLst>
            <pc:docMk/>
            <pc:sldMk cId="3464376573" sldId="1240"/>
            <ac:spMk id="12" creationId="{BBD83C5D-4CB8-FE6A-8EF7-8499A1321CCE}"/>
          </ac:spMkLst>
        </pc:spChg>
        <pc:spChg chg="del">
          <ac:chgData name="Kellermann, Demian (CYS DEF OPS-DE)" userId="0961c1fd-f967-4660-b634-1c9ce6af0b19" providerId="ADAL" clId="{513664E0-C945-4B00-AC06-F205727D86B6}" dt="2023-10-05T12:23:37.904" v="11013" actId="478"/>
          <ac:spMkLst>
            <pc:docMk/>
            <pc:sldMk cId="3464376573" sldId="1240"/>
            <ac:spMk id="20" creationId="{A5BDFCE6-0858-20C6-71DF-57161E77F46E}"/>
          </ac:spMkLst>
        </pc:spChg>
      </pc:sldChg>
      <pc:sldChg chg="addSp delSp modSp add mod">
        <pc:chgData name="Kellermann, Demian (CYS DEF OPS-DE)" userId="0961c1fd-f967-4660-b634-1c9ce6af0b19" providerId="ADAL" clId="{513664E0-C945-4B00-AC06-F205727D86B6}" dt="2023-10-05T07:50:30.146" v="10057" actId="1076"/>
        <pc:sldMkLst>
          <pc:docMk/>
          <pc:sldMk cId="3772723279" sldId="1241"/>
        </pc:sldMkLst>
        <pc:spChg chg="mod">
          <ac:chgData name="Kellermann, Demian (CYS DEF OPS-DE)" userId="0961c1fd-f967-4660-b634-1c9ce6af0b19" providerId="ADAL" clId="{513664E0-C945-4B00-AC06-F205727D86B6}" dt="2023-10-02T13:42:42.602" v="9201" actId="20577"/>
          <ac:spMkLst>
            <pc:docMk/>
            <pc:sldMk cId="3772723279" sldId="1241"/>
            <ac:spMk id="2" creationId="{813C3CFC-9697-4716-A651-26E69FE6AB0F}"/>
          </ac:spMkLst>
        </pc:spChg>
        <pc:spChg chg="del">
          <ac:chgData name="Kellermann, Demian (CYS DEF OPS-DE)" userId="0961c1fd-f967-4660-b634-1c9ce6af0b19" providerId="ADAL" clId="{513664E0-C945-4B00-AC06-F205727D86B6}" dt="2023-10-02T13:42:47.342" v="9202" actId="478"/>
          <ac:spMkLst>
            <pc:docMk/>
            <pc:sldMk cId="3772723279" sldId="1241"/>
            <ac:spMk id="5" creationId="{1C5FE09E-2561-D1D6-73B5-616A096CE3CE}"/>
          </ac:spMkLst>
        </pc:spChg>
        <pc:spChg chg="add del">
          <ac:chgData name="Kellermann, Demian (CYS DEF OPS-DE)" userId="0961c1fd-f967-4660-b634-1c9ce6af0b19" providerId="ADAL" clId="{513664E0-C945-4B00-AC06-F205727D86B6}" dt="2023-10-02T16:00:27.884" v="9579" actId="22"/>
          <ac:spMkLst>
            <pc:docMk/>
            <pc:sldMk cId="3772723279" sldId="1241"/>
            <ac:spMk id="7" creationId="{44DF3020-266C-32DE-603C-56C0B612DD93}"/>
          </ac:spMkLst>
        </pc:spChg>
        <pc:picChg chg="add del mod">
          <ac:chgData name="Kellermann, Demian (CYS DEF OPS-DE)" userId="0961c1fd-f967-4660-b634-1c9ce6af0b19" providerId="ADAL" clId="{513664E0-C945-4B00-AC06-F205727D86B6}" dt="2023-10-05T07:49:35.761" v="10054" actId="478"/>
          <ac:picMkLst>
            <pc:docMk/>
            <pc:sldMk cId="3772723279" sldId="1241"/>
            <ac:picMk id="5" creationId="{0E595A5D-F135-1611-39B8-BD950B1B369B}"/>
          </ac:picMkLst>
        </pc:picChg>
        <pc:picChg chg="add mod">
          <ac:chgData name="Kellermann, Demian (CYS DEF OPS-DE)" userId="0961c1fd-f967-4660-b634-1c9ce6af0b19" providerId="ADAL" clId="{513664E0-C945-4B00-AC06-F205727D86B6}" dt="2023-10-05T07:50:30.146" v="10057" actId="1076"/>
          <ac:picMkLst>
            <pc:docMk/>
            <pc:sldMk cId="3772723279" sldId="1241"/>
            <ac:picMk id="8" creationId="{301E1F07-4BFF-1EC0-8312-01489F5F2498}"/>
          </ac:picMkLst>
        </pc:picChg>
      </pc:sldChg>
      <pc:sldChg chg="addSp delSp modSp add mod">
        <pc:chgData name="Kellermann, Demian (CYS DEF OPS-DE)" userId="0961c1fd-f967-4660-b634-1c9ce6af0b19" providerId="ADAL" clId="{513664E0-C945-4B00-AC06-F205727D86B6}" dt="2023-10-02T16:40:06.033" v="10042" actId="6549"/>
        <pc:sldMkLst>
          <pc:docMk/>
          <pc:sldMk cId="555466766" sldId="1242"/>
        </pc:sldMkLst>
        <pc:spChg chg="mod">
          <ac:chgData name="Kellermann, Demian (CYS DEF OPS-DE)" userId="0961c1fd-f967-4660-b634-1c9ce6af0b19" providerId="ADAL" clId="{513664E0-C945-4B00-AC06-F205727D86B6}" dt="2023-10-02T13:50:56.665" v="9211" actId="20577"/>
          <ac:spMkLst>
            <pc:docMk/>
            <pc:sldMk cId="555466766" sldId="1242"/>
            <ac:spMk id="2" creationId="{813C3CFC-9697-4716-A651-26E69FE6AB0F}"/>
          </ac:spMkLst>
        </pc:spChg>
        <pc:spChg chg="add mod">
          <ac:chgData name="Kellermann, Demian (CYS DEF OPS-DE)" userId="0961c1fd-f967-4660-b634-1c9ce6af0b19" providerId="ADAL" clId="{513664E0-C945-4B00-AC06-F205727D86B6}" dt="2023-10-02T16:40:06.033" v="10042" actId="6549"/>
          <ac:spMkLst>
            <pc:docMk/>
            <pc:sldMk cId="555466766" sldId="1242"/>
            <ac:spMk id="3" creationId="{43328248-7ABA-7C65-3EF9-901B67BEFBBD}"/>
          </ac:spMkLst>
        </pc:spChg>
        <pc:spChg chg="add del">
          <ac:chgData name="Kellermann, Demian (CYS DEF OPS-DE)" userId="0961c1fd-f967-4660-b634-1c9ce6af0b19" providerId="ADAL" clId="{513664E0-C945-4B00-AC06-F205727D86B6}" dt="2023-10-02T13:54:06.894" v="9291" actId="22"/>
          <ac:spMkLst>
            <pc:docMk/>
            <pc:sldMk cId="555466766" sldId="1242"/>
            <ac:spMk id="7" creationId="{3F31E367-4B85-EEC1-8EE6-8CB59E244770}"/>
          </ac:spMkLst>
        </pc:spChg>
        <pc:spChg chg="add mod">
          <ac:chgData name="Kellermann, Demian (CYS DEF OPS-DE)" userId="0961c1fd-f967-4660-b634-1c9ce6af0b19" providerId="ADAL" clId="{513664E0-C945-4B00-AC06-F205727D86B6}" dt="2023-10-02T15:05:39.964" v="9321" actId="6549"/>
          <ac:spMkLst>
            <pc:docMk/>
            <pc:sldMk cId="555466766" sldId="1242"/>
            <ac:spMk id="8" creationId="{7187C8E5-825C-1C08-DE2B-85B16B5F2EE3}"/>
          </ac:spMkLst>
        </pc:spChg>
      </pc:sldChg>
      <pc:sldChg chg="addSp delSp modSp add mod ord">
        <pc:chgData name="Kellermann, Demian (CYS DEF OPS-DE)" userId="0961c1fd-f967-4660-b634-1c9ce6af0b19" providerId="ADAL" clId="{513664E0-C945-4B00-AC06-F205727D86B6}" dt="2023-10-05T14:30:58.443" v="12182" actId="20577"/>
        <pc:sldMkLst>
          <pc:docMk/>
          <pc:sldMk cId="2220181476" sldId="1243"/>
        </pc:sldMkLst>
        <pc:spChg chg="mod">
          <ac:chgData name="Kellermann, Demian (CYS DEF OPS-DE)" userId="0961c1fd-f967-4660-b634-1c9ce6af0b19" providerId="ADAL" clId="{513664E0-C945-4B00-AC06-F205727D86B6}" dt="2023-10-05T14:30:58.443" v="12182" actId="20577"/>
          <ac:spMkLst>
            <pc:docMk/>
            <pc:sldMk cId="2220181476" sldId="1243"/>
            <ac:spMk id="2" creationId="{B686C292-B539-4804-A061-8691E22291E4}"/>
          </ac:spMkLst>
        </pc:spChg>
        <pc:spChg chg="mod">
          <ac:chgData name="Kellermann, Demian (CYS DEF OPS-DE)" userId="0961c1fd-f967-4660-b634-1c9ce6af0b19" providerId="ADAL" clId="{513664E0-C945-4B00-AC06-F205727D86B6}" dt="2023-10-02T15:45:49.113" v="9526"/>
          <ac:spMkLst>
            <pc:docMk/>
            <pc:sldMk cId="2220181476" sldId="1243"/>
            <ac:spMk id="3" creationId="{8B2C2B24-AA75-49BF-859F-5FA3DA63A8E3}"/>
          </ac:spMkLst>
        </pc:spChg>
        <pc:spChg chg="add del mod">
          <ac:chgData name="Kellermann, Demian (CYS DEF OPS-DE)" userId="0961c1fd-f967-4660-b634-1c9ce6af0b19" providerId="ADAL" clId="{513664E0-C945-4B00-AC06-F205727D86B6}" dt="2023-10-02T16:00:58.349" v="9583"/>
          <ac:spMkLst>
            <pc:docMk/>
            <pc:sldMk cId="2220181476" sldId="1243"/>
            <ac:spMk id="5" creationId="{BBE130E1-A908-2B33-F64B-521ABE7FA0BA}"/>
          </ac:spMkLst>
        </pc:spChg>
        <pc:spChg chg="add del mod">
          <ac:chgData name="Kellermann, Demian (CYS DEF OPS-DE)" userId="0961c1fd-f967-4660-b634-1c9ce6af0b19" providerId="ADAL" clId="{513664E0-C945-4B00-AC06-F205727D86B6}" dt="2023-10-02T16:00:58.349" v="9583"/>
          <ac:spMkLst>
            <pc:docMk/>
            <pc:sldMk cId="2220181476" sldId="1243"/>
            <ac:spMk id="6" creationId="{3CF9BEB5-DE3F-CBFC-7616-89DE81F52A47}"/>
          </ac:spMkLst>
        </pc:spChg>
        <pc:spChg chg="add del mod">
          <ac:chgData name="Kellermann, Demian (CYS DEF OPS-DE)" userId="0961c1fd-f967-4660-b634-1c9ce6af0b19" providerId="ADAL" clId="{513664E0-C945-4B00-AC06-F205727D86B6}" dt="2023-10-02T16:00:56.534" v="9582"/>
          <ac:spMkLst>
            <pc:docMk/>
            <pc:sldMk cId="2220181476" sldId="1243"/>
            <ac:spMk id="7" creationId="{E5D3BD20-896C-750D-6567-EDCDDF5B06DF}"/>
          </ac:spMkLst>
        </pc:spChg>
        <pc:spChg chg="add del mod">
          <ac:chgData name="Kellermann, Demian (CYS DEF OPS-DE)" userId="0961c1fd-f967-4660-b634-1c9ce6af0b19" providerId="ADAL" clId="{513664E0-C945-4B00-AC06-F205727D86B6}" dt="2023-10-02T16:00:56.534" v="9582"/>
          <ac:spMkLst>
            <pc:docMk/>
            <pc:sldMk cId="2220181476" sldId="1243"/>
            <ac:spMk id="8" creationId="{CDBEA33F-567C-F901-761F-6741435A8E01}"/>
          </ac:spMkLst>
        </pc:spChg>
        <pc:spChg chg="add mod">
          <ac:chgData name="Kellermann, Demian (CYS DEF OPS-DE)" userId="0961c1fd-f967-4660-b634-1c9ce6af0b19" providerId="ADAL" clId="{513664E0-C945-4B00-AC06-F205727D86B6}" dt="2023-10-02T17:22:36.133" v="10047" actId="20577"/>
          <ac:spMkLst>
            <pc:docMk/>
            <pc:sldMk cId="2220181476" sldId="1243"/>
            <ac:spMk id="9" creationId="{1FA72983-FAC2-E13A-308E-8CAE167FE325}"/>
          </ac:spMkLst>
        </pc:spChg>
        <pc:spChg chg="add mod">
          <ac:chgData name="Kellermann, Demian (CYS DEF OPS-DE)" userId="0961c1fd-f967-4660-b634-1c9ce6af0b19" providerId="ADAL" clId="{513664E0-C945-4B00-AC06-F205727D86B6}" dt="2023-10-02T16:35:25.433" v="10024" actId="14100"/>
          <ac:spMkLst>
            <pc:docMk/>
            <pc:sldMk cId="2220181476" sldId="1243"/>
            <ac:spMk id="10" creationId="{1AA449AA-7A26-34A0-271D-B87B72497C55}"/>
          </ac:spMkLst>
        </pc:spChg>
        <pc:spChg chg="add mod">
          <ac:chgData name="Kellermann, Demian (CYS DEF OPS-DE)" userId="0961c1fd-f967-4660-b634-1c9ce6af0b19" providerId="ADAL" clId="{513664E0-C945-4B00-AC06-F205727D86B6}" dt="2023-10-02T16:35:28.223" v="10025" actId="14100"/>
          <ac:spMkLst>
            <pc:docMk/>
            <pc:sldMk cId="2220181476" sldId="1243"/>
            <ac:spMk id="11" creationId="{38EDB326-E63D-7C7C-C387-68ECCF5E6EAD}"/>
          </ac:spMkLst>
        </pc:spChg>
        <pc:spChg chg="add del mod">
          <ac:chgData name="Kellermann, Demian (CYS DEF OPS-DE)" userId="0961c1fd-f967-4660-b634-1c9ce6af0b19" providerId="ADAL" clId="{513664E0-C945-4B00-AC06-F205727D86B6}" dt="2023-10-02T16:11:02.673" v="9912"/>
          <ac:spMkLst>
            <pc:docMk/>
            <pc:sldMk cId="2220181476" sldId="1243"/>
            <ac:spMk id="12" creationId="{34D05446-C3A7-D4E3-4C6B-0B250441FCCE}"/>
          </ac:spMkLst>
        </pc:spChg>
        <pc:spChg chg="add del">
          <ac:chgData name="Kellermann, Demian (CYS DEF OPS-DE)" userId="0961c1fd-f967-4660-b634-1c9ce6af0b19" providerId="ADAL" clId="{513664E0-C945-4B00-AC06-F205727D86B6}" dt="2023-10-02T16:11:56.957" v="9917" actId="22"/>
          <ac:spMkLst>
            <pc:docMk/>
            <pc:sldMk cId="2220181476" sldId="1243"/>
            <ac:spMk id="15" creationId="{959C44B4-FF0A-1260-D030-3AA1AFDAA6A9}"/>
          </ac:spMkLst>
        </pc:spChg>
        <pc:spChg chg="add del mod">
          <ac:chgData name="Kellermann, Demian (CYS DEF OPS-DE)" userId="0961c1fd-f967-4660-b634-1c9ce6af0b19" providerId="ADAL" clId="{513664E0-C945-4B00-AC06-F205727D86B6}" dt="2023-10-02T16:12:11.237" v="9921" actId="478"/>
          <ac:spMkLst>
            <pc:docMk/>
            <pc:sldMk cId="2220181476" sldId="1243"/>
            <ac:spMk id="16" creationId="{755E8EC9-2806-EA49-CF61-1FFAA7EFF30B}"/>
          </ac:spMkLst>
        </pc:spChg>
        <pc:picChg chg="add del mod">
          <ac:chgData name="Kellermann, Demian (CYS DEF OPS-DE)" userId="0961c1fd-f967-4660-b634-1c9ce6af0b19" providerId="ADAL" clId="{513664E0-C945-4B00-AC06-F205727D86B6}" dt="2023-10-02T16:12:00.542" v="9918" actId="478"/>
          <ac:picMkLst>
            <pc:docMk/>
            <pc:sldMk cId="2220181476" sldId="1243"/>
            <ac:picMk id="13" creationId="{C1C8D4B2-28FE-A089-C1E2-E8594C4415A5}"/>
          </ac:picMkLst>
        </pc:picChg>
        <pc:picChg chg="add mod">
          <ac:chgData name="Kellermann, Demian (CYS DEF OPS-DE)" userId="0961c1fd-f967-4660-b634-1c9ce6af0b19" providerId="ADAL" clId="{513664E0-C945-4B00-AC06-F205727D86B6}" dt="2023-10-02T16:12:15.947" v="9923" actId="1076"/>
          <ac:picMkLst>
            <pc:docMk/>
            <pc:sldMk cId="2220181476" sldId="1243"/>
            <ac:picMk id="17" creationId="{9762CD32-FF89-60A1-4B45-184C39DAA3E9}"/>
          </ac:picMkLst>
        </pc:picChg>
      </pc:sldChg>
      <pc:sldChg chg="modSp add">
        <pc:chgData name="Kellermann, Demian (CYS DEF OPS-DE)" userId="0961c1fd-f967-4660-b634-1c9ce6af0b19" providerId="ADAL" clId="{513664E0-C945-4B00-AC06-F205727D86B6}" dt="2023-10-05T08:20:48" v="10060" actId="14826"/>
        <pc:sldMkLst>
          <pc:docMk/>
          <pc:sldMk cId="1328553763" sldId="1244"/>
        </pc:sldMkLst>
        <pc:picChg chg="mod">
          <ac:chgData name="Kellermann, Demian (CYS DEF OPS-DE)" userId="0961c1fd-f967-4660-b634-1c9ce6af0b19" providerId="ADAL" clId="{513664E0-C945-4B00-AC06-F205727D86B6}" dt="2023-10-05T08:20:48" v="10060" actId="14826"/>
          <ac:picMkLst>
            <pc:docMk/>
            <pc:sldMk cId="1328553763" sldId="1244"/>
            <ac:picMk id="8" creationId="{301E1F07-4BFF-1EC0-8312-01489F5F2498}"/>
          </ac:picMkLst>
        </pc:picChg>
      </pc:sldChg>
      <pc:sldChg chg="add del">
        <pc:chgData name="Kellermann, Demian (CYS DEF OPS-DE)" userId="0961c1fd-f967-4660-b634-1c9ce6af0b19" providerId="ADAL" clId="{513664E0-C945-4B00-AC06-F205727D86B6}" dt="2023-10-05T07:50:37.237" v="10058" actId="47"/>
        <pc:sldMkLst>
          <pc:docMk/>
          <pc:sldMk cId="4165950866" sldId="1244"/>
        </pc:sldMkLst>
      </pc:sldChg>
      <pc:sldChg chg="modSp add">
        <pc:chgData name="Kellermann, Demian (CYS DEF OPS-DE)" userId="0961c1fd-f967-4660-b634-1c9ce6af0b19" providerId="ADAL" clId="{513664E0-C945-4B00-AC06-F205727D86B6}" dt="2023-10-05T08:20:59.235" v="10062" actId="14826"/>
        <pc:sldMkLst>
          <pc:docMk/>
          <pc:sldMk cId="144119149" sldId="1245"/>
        </pc:sldMkLst>
        <pc:picChg chg="mod">
          <ac:chgData name="Kellermann, Demian (CYS DEF OPS-DE)" userId="0961c1fd-f967-4660-b634-1c9ce6af0b19" providerId="ADAL" clId="{513664E0-C945-4B00-AC06-F205727D86B6}" dt="2023-10-05T08:20:59.235" v="10062" actId="14826"/>
          <ac:picMkLst>
            <pc:docMk/>
            <pc:sldMk cId="144119149" sldId="1245"/>
            <ac:picMk id="8" creationId="{301E1F07-4BFF-1EC0-8312-01489F5F2498}"/>
          </ac:picMkLst>
        </pc:picChg>
      </pc:sldChg>
      <pc:sldChg chg="modSp add">
        <pc:chgData name="Kellermann, Demian (CYS DEF OPS-DE)" userId="0961c1fd-f967-4660-b634-1c9ce6af0b19" providerId="ADAL" clId="{513664E0-C945-4B00-AC06-F205727D86B6}" dt="2023-10-05T08:21:13.905" v="10064" actId="14826"/>
        <pc:sldMkLst>
          <pc:docMk/>
          <pc:sldMk cId="2851237499" sldId="1246"/>
        </pc:sldMkLst>
        <pc:picChg chg="mod">
          <ac:chgData name="Kellermann, Demian (CYS DEF OPS-DE)" userId="0961c1fd-f967-4660-b634-1c9ce6af0b19" providerId="ADAL" clId="{513664E0-C945-4B00-AC06-F205727D86B6}" dt="2023-10-05T08:21:13.905" v="10064" actId="14826"/>
          <ac:picMkLst>
            <pc:docMk/>
            <pc:sldMk cId="2851237499" sldId="1246"/>
            <ac:picMk id="8" creationId="{301E1F07-4BFF-1EC0-8312-01489F5F2498}"/>
          </ac:picMkLst>
        </pc:picChg>
      </pc:sldChg>
      <pc:sldChg chg="modSp add">
        <pc:chgData name="Kellermann, Demian (CYS DEF OPS-DE)" userId="0961c1fd-f967-4660-b634-1c9ce6af0b19" providerId="ADAL" clId="{513664E0-C945-4B00-AC06-F205727D86B6}" dt="2023-10-05T08:21:27.241" v="10066" actId="14826"/>
        <pc:sldMkLst>
          <pc:docMk/>
          <pc:sldMk cId="2785356420" sldId="1247"/>
        </pc:sldMkLst>
        <pc:picChg chg="mod">
          <ac:chgData name="Kellermann, Demian (CYS DEF OPS-DE)" userId="0961c1fd-f967-4660-b634-1c9ce6af0b19" providerId="ADAL" clId="{513664E0-C945-4B00-AC06-F205727D86B6}" dt="2023-10-05T08:21:27.241" v="10066" actId="14826"/>
          <ac:picMkLst>
            <pc:docMk/>
            <pc:sldMk cId="2785356420" sldId="1247"/>
            <ac:picMk id="8" creationId="{301E1F07-4BFF-1EC0-8312-01489F5F2498}"/>
          </ac:picMkLst>
        </pc:picChg>
      </pc:sldChg>
      <pc:sldChg chg="modSp add">
        <pc:chgData name="Kellermann, Demian (CYS DEF OPS-DE)" userId="0961c1fd-f967-4660-b634-1c9ce6af0b19" providerId="ADAL" clId="{513664E0-C945-4B00-AC06-F205727D86B6}" dt="2023-10-05T08:21:52.951" v="10068" actId="14826"/>
        <pc:sldMkLst>
          <pc:docMk/>
          <pc:sldMk cId="438564692" sldId="1248"/>
        </pc:sldMkLst>
        <pc:picChg chg="mod">
          <ac:chgData name="Kellermann, Demian (CYS DEF OPS-DE)" userId="0961c1fd-f967-4660-b634-1c9ce6af0b19" providerId="ADAL" clId="{513664E0-C945-4B00-AC06-F205727D86B6}" dt="2023-10-05T08:21:52.951" v="10068" actId="14826"/>
          <ac:picMkLst>
            <pc:docMk/>
            <pc:sldMk cId="438564692" sldId="1248"/>
            <ac:picMk id="8" creationId="{301E1F07-4BFF-1EC0-8312-01489F5F2498}"/>
          </ac:picMkLst>
        </pc:picChg>
      </pc:sldChg>
      <pc:sldChg chg="modSp add mod">
        <pc:chgData name="Kellermann, Demian (CYS DEF OPS-DE)" userId="0961c1fd-f967-4660-b634-1c9ce6af0b19" providerId="ADAL" clId="{513664E0-C945-4B00-AC06-F205727D86B6}" dt="2023-10-05T08:22:55.021" v="10076" actId="1076"/>
        <pc:sldMkLst>
          <pc:docMk/>
          <pc:sldMk cId="4233210675" sldId="1249"/>
        </pc:sldMkLst>
        <pc:picChg chg="mod modCrop">
          <ac:chgData name="Kellermann, Demian (CYS DEF OPS-DE)" userId="0961c1fd-f967-4660-b634-1c9ce6af0b19" providerId="ADAL" clId="{513664E0-C945-4B00-AC06-F205727D86B6}" dt="2023-10-05T08:22:55.021" v="10076" actId="1076"/>
          <ac:picMkLst>
            <pc:docMk/>
            <pc:sldMk cId="4233210675" sldId="1249"/>
            <ac:picMk id="8" creationId="{301E1F07-4BFF-1EC0-8312-01489F5F2498}"/>
          </ac:picMkLst>
        </pc:picChg>
      </pc:sldChg>
      <pc:sldChg chg="modSp add mod ord">
        <pc:chgData name="Kellermann, Demian (CYS DEF OPS-DE)" userId="0961c1fd-f967-4660-b634-1c9ce6af0b19" providerId="ADAL" clId="{513664E0-C945-4B00-AC06-F205727D86B6}" dt="2023-10-05T08:24:07.144" v="10085" actId="1076"/>
        <pc:sldMkLst>
          <pc:docMk/>
          <pc:sldMk cId="1663704080" sldId="1250"/>
        </pc:sldMkLst>
        <pc:picChg chg="mod modCrop">
          <ac:chgData name="Kellermann, Demian (CYS DEF OPS-DE)" userId="0961c1fd-f967-4660-b634-1c9ce6af0b19" providerId="ADAL" clId="{513664E0-C945-4B00-AC06-F205727D86B6}" dt="2023-10-05T08:24:07.144" v="10085" actId="1076"/>
          <ac:picMkLst>
            <pc:docMk/>
            <pc:sldMk cId="1663704080" sldId="1250"/>
            <ac:picMk id="8" creationId="{301E1F07-4BFF-1EC0-8312-01489F5F2498}"/>
          </ac:picMkLst>
        </pc:picChg>
      </pc:sldChg>
      <pc:sldChg chg="addSp delSp modSp add mod ord">
        <pc:chgData name="Kellermann, Demian (CYS DEF OPS-DE)" userId="0961c1fd-f967-4660-b634-1c9ce6af0b19" providerId="ADAL" clId="{513664E0-C945-4B00-AC06-F205727D86B6}" dt="2023-10-05T13:12:02.526" v="11140" actId="478"/>
        <pc:sldMkLst>
          <pc:docMk/>
          <pc:sldMk cId="2017008546" sldId="1251"/>
        </pc:sldMkLst>
        <pc:spChg chg="add del mod">
          <ac:chgData name="Kellermann, Demian (CYS DEF OPS-DE)" userId="0961c1fd-f967-4660-b634-1c9ce6af0b19" providerId="ADAL" clId="{513664E0-C945-4B00-AC06-F205727D86B6}" dt="2023-10-05T13:12:02.526" v="11140" actId="478"/>
          <ac:spMkLst>
            <pc:docMk/>
            <pc:sldMk cId="2017008546" sldId="1251"/>
            <ac:spMk id="3" creationId="{AF8D0AC0-130E-ECAC-CE01-3ADF85A89A3E}"/>
          </ac:spMkLst>
        </pc:spChg>
        <pc:picChg chg="mod">
          <ac:chgData name="Kellermann, Demian (CYS DEF OPS-DE)" userId="0961c1fd-f967-4660-b634-1c9ce6af0b19" providerId="ADAL" clId="{513664E0-C945-4B00-AC06-F205727D86B6}" dt="2023-10-05T08:24:56.944" v="10089" actId="14826"/>
          <ac:picMkLst>
            <pc:docMk/>
            <pc:sldMk cId="2017008546" sldId="1251"/>
            <ac:picMk id="8" creationId="{301E1F07-4BFF-1EC0-8312-01489F5F2498}"/>
          </ac:picMkLst>
        </pc:picChg>
      </pc:sldChg>
      <pc:sldChg chg="modSp add">
        <pc:chgData name="Kellermann, Demian (CYS DEF OPS-DE)" userId="0961c1fd-f967-4660-b634-1c9ce6af0b19" providerId="ADAL" clId="{513664E0-C945-4B00-AC06-F205727D86B6}" dt="2023-10-05T08:25:35.104" v="10091" actId="14826"/>
        <pc:sldMkLst>
          <pc:docMk/>
          <pc:sldMk cId="2450651026" sldId="1252"/>
        </pc:sldMkLst>
        <pc:picChg chg="mod">
          <ac:chgData name="Kellermann, Demian (CYS DEF OPS-DE)" userId="0961c1fd-f967-4660-b634-1c9ce6af0b19" providerId="ADAL" clId="{513664E0-C945-4B00-AC06-F205727D86B6}" dt="2023-10-05T08:25:35.104" v="10091" actId="14826"/>
          <ac:picMkLst>
            <pc:docMk/>
            <pc:sldMk cId="2450651026" sldId="1252"/>
            <ac:picMk id="8" creationId="{301E1F07-4BFF-1EC0-8312-01489F5F2498}"/>
          </ac:picMkLst>
        </pc:picChg>
      </pc:sldChg>
      <pc:sldChg chg="addSp modSp add mod ord">
        <pc:chgData name="Kellermann, Demian (CYS DEF OPS-DE)" userId="0961c1fd-f967-4660-b634-1c9ce6af0b19" providerId="ADAL" clId="{513664E0-C945-4B00-AC06-F205727D86B6}" dt="2023-10-05T15:21:12.396" v="12250" actId="1076"/>
        <pc:sldMkLst>
          <pc:docMk/>
          <pc:sldMk cId="4031406732" sldId="1253"/>
        </pc:sldMkLst>
        <pc:spChg chg="mod">
          <ac:chgData name="Kellermann, Demian (CYS DEF OPS-DE)" userId="0961c1fd-f967-4660-b634-1c9ce6af0b19" providerId="ADAL" clId="{513664E0-C945-4B00-AC06-F205727D86B6}" dt="2023-10-05T10:37:57.518" v="10328" actId="20577"/>
          <ac:spMkLst>
            <pc:docMk/>
            <pc:sldMk cId="4031406732" sldId="1253"/>
            <ac:spMk id="5" creationId="{F640B5D6-DA30-4A72-90BF-4686C1ACCA99}"/>
          </ac:spMkLst>
        </pc:spChg>
        <pc:picChg chg="add mod ord">
          <ac:chgData name="Kellermann, Demian (CYS DEF OPS-DE)" userId="0961c1fd-f967-4660-b634-1c9ce6af0b19" providerId="ADAL" clId="{513664E0-C945-4B00-AC06-F205727D86B6}" dt="2023-10-05T15:21:12.396" v="12250" actId="1076"/>
          <ac:picMkLst>
            <pc:docMk/>
            <pc:sldMk cId="4031406732" sldId="1253"/>
            <ac:picMk id="6" creationId="{A3A35100-42D8-D3E2-ECCF-3CEEAED37151}"/>
          </ac:picMkLst>
        </pc:picChg>
      </pc:sldChg>
      <pc:sldChg chg="addSp modSp add mod">
        <pc:chgData name="Kellermann, Demian (CYS DEF OPS-DE)" userId="0961c1fd-f967-4660-b634-1c9ce6af0b19" providerId="ADAL" clId="{513664E0-C945-4B00-AC06-F205727D86B6}" dt="2023-10-05T13:57:28.239" v="11997" actId="114"/>
        <pc:sldMkLst>
          <pc:docMk/>
          <pc:sldMk cId="1288150932" sldId="1254"/>
        </pc:sldMkLst>
        <pc:spChg chg="add mod">
          <ac:chgData name="Kellermann, Demian (CYS DEF OPS-DE)" userId="0961c1fd-f967-4660-b634-1c9ce6af0b19" providerId="ADAL" clId="{513664E0-C945-4B00-AC06-F205727D86B6}" dt="2023-10-05T10:36:29.813" v="10275" actId="122"/>
          <ac:spMkLst>
            <pc:docMk/>
            <pc:sldMk cId="1288150932" sldId="1254"/>
            <ac:spMk id="5" creationId="{FB0F1411-FC0B-9DA6-2384-5625E0465CA0}"/>
          </ac:spMkLst>
        </pc:spChg>
        <pc:spChg chg="add mod">
          <ac:chgData name="Kellermann, Demian (CYS DEF OPS-DE)" userId="0961c1fd-f967-4660-b634-1c9ce6af0b19" providerId="ADAL" clId="{513664E0-C945-4B00-AC06-F205727D86B6}" dt="2023-10-05T13:57:28.239" v="11997" actId="114"/>
          <ac:spMkLst>
            <pc:docMk/>
            <pc:sldMk cId="1288150932" sldId="1254"/>
            <ac:spMk id="7" creationId="{EF453E58-47D2-1DAF-4C79-46EA219DFF1D}"/>
          </ac:spMkLst>
        </pc:spChg>
      </pc:sldChg>
      <pc:sldChg chg="addSp modSp add mod">
        <pc:chgData name="Kellermann, Demian (CYS DEF OPS-DE)" userId="0961c1fd-f967-4660-b634-1c9ce6af0b19" providerId="ADAL" clId="{513664E0-C945-4B00-AC06-F205727D86B6}" dt="2023-10-05T15:13:47.651" v="12237" actId="1076"/>
        <pc:sldMkLst>
          <pc:docMk/>
          <pc:sldMk cId="2565059267" sldId="1255"/>
        </pc:sldMkLst>
        <pc:spChg chg="mod">
          <ac:chgData name="Kellermann, Demian (CYS DEF OPS-DE)" userId="0961c1fd-f967-4660-b634-1c9ce6af0b19" providerId="ADAL" clId="{513664E0-C945-4B00-AC06-F205727D86B6}" dt="2023-10-05T10:39:39.210" v="10443" actId="20577"/>
          <ac:spMkLst>
            <pc:docMk/>
            <pc:sldMk cId="2565059267" sldId="1255"/>
            <ac:spMk id="5" creationId="{F640B5D6-DA30-4A72-90BF-4686C1ACCA99}"/>
          </ac:spMkLst>
        </pc:spChg>
        <pc:picChg chg="add mod ord">
          <ac:chgData name="Kellermann, Demian (CYS DEF OPS-DE)" userId="0961c1fd-f967-4660-b634-1c9ce6af0b19" providerId="ADAL" clId="{513664E0-C945-4B00-AC06-F205727D86B6}" dt="2023-10-05T15:13:47.651" v="12237" actId="1076"/>
          <ac:picMkLst>
            <pc:docMk/>
            <pc:sldMk cId="2565059267" sldId="1255"/>
            <ac:picMk id="6" creationId="{BF6DFC1E-2628-A29F-2E28-EF1E7E9AE22C}"/>
          </ac:picMkLst>
        </pc:picChg>
      </pc:sldChg>
      <pc:sldChg chg="addSp modSp add mod ord">
        <pc:chgData name="Kellermann, Demian (CYS DEF OPS-DE)" userId="0961c1fd-f967-4660-b634-1c9ce6af0b19" providerId="ADAL" clId="{513664E0-C945-4B00-AC06-F205727D86B6}" dt="2023-10-05T15:14:57.789" v="12240" actId="167"/>
        <pc:sldMkLst>
          <pc:docMk/>
          <pc:sldMk cId="2824019085" sldId="1256"/>
        </pc:sldMkLst>
        <pc:spChg chg="mod">
          <ac:chgData name="Kellermann, Demian (CYS DEF OPS-DE)" userId="0961c1fd-f967-4660-b634-1c9ce6af0b19" providerId="ADAL" clId="{513664E0-C945-4B00-AC06-F205727D86B6}" dt="2023-10-05T11:04:30.960" v="10776" actId="20577"/>
          <ac:spMkLst>
            <pc:docMk/>
            <pc:sldMk cId="2824019085" sldId="1256"/>
            <ac:spMk id="5" creationId="{F640B5D6-DA30-4A72-90BF-4686C1ACCA99}"/>
          </ac:spMkLst>
        </pc:spChg>
        <pc:picChg chg="add mod ord">
          <ac:chgData name="Kellermann, Demian (CYS DEF OPS-DE)" userId="0961c1fd-f967-4660-b634-1c9ce6af0b19" providerId="ADAL" clId="{513664E0-C945-4B00-AC06-F205727D86B6}" dt="2023-10-05T15:14:57.789" v="12240" actId="167"/>
          <ac:picMkLst>
            <pc:docMk/>
            <pc:sldMk cId="2824019085" sldId="1256"/>
            <ac:picMk id="2" creationId="{1D08B6E4-A4B7-A17C-3B01-28174215BBB2}"/>
          </ac:picMkLst>
        </pc:picChg>
      </pc:sldChg>
      <pc:sldChg chg="add">
        <pc:chgData name="Kellermann, Demian (CYS DEF OPS-DE)" userId="0961c1fd-f967-4660-b634-1c9ce6af0b19" providerId="ADAL" clId="{513664E0-C945-4B00-AC06-F205727D86B6}" dt="2023-10-05T12:23:33.194" v="11012" actId="2890"/>
        <pc:sldMkLst>
          <pc:docMk/>
          <pc:sldMk cId="438874984" sldId="1257"/>
        </pc:sldMkLst>
      </pc:sldChg>
      <pc:sldChg chg="addSp modSp add mod ord">
        <pc:chgData name="Kellermann, Demian (CYS DEF OPS-DE)" userId="0961c1fd-f967-4660-b634-1c9ce6af0b19" providerId="ADAL" clId="{513664E0-C945-4B00-AC06-F205727D86B6}" dt="2023-10-05T15:15:50.908" v="12243" actId="14826"/>
        <pc:sldMkLst>
          <pc:docMk/>
          <pc:sldMk cId="1313728606" sldId="1258"/>
        </pc:sldMkLst>
        <pc:spChg chg="mod">
          <ac:chgData name="Kellermann, Demian (CYS DEF OPS-DE)" userId="0961c1fd-f967-4660-b634-1c9ce6af0b19" providerId="ADAL" clId="{513664E0-C945-4B00-AC06-F205727D86B6}" dt="2023-10-05T12:27:55.754" v="11062" actId="20577"/>
          <ac:spMkLst>
            <pc:docMk/>
            <pc:sldMk cId="1313728606" sldId="1258"/>
            <ac:spMk id="5" creationId="{F640B5D6-DA30-4A72-90BF-4686C1ACCA99}"/>
          </ac:spMkLst>
        </pc:spChg>
        <pc:picChg chg="add mod ord">
          <ac:chgData name="Kellermann, Demian (CYS DEF OPS-DE)" userId="0961c1fd-f967-4660-b634-1c9ce6af0b19" providerId="ADAL" clId="{513664E0-C945-4B00-AC06-F205727D86B6}" dt="2023-10-05T15:15:50.908" v="12243" actId="14826"/>
          <ac:picMkLst>
            <pc:docMk/>
            <pc:sldMk cId="1313728606" sldId="1258"/>
            <ac:picMk id="2" creationId="{47E42E7F-9C1B-29A9-004E-CD995C4C5B11}"/>
          </ac:picMkLst>
        </pc:picChg>
      </pc:sldChg>
      <pc:sldChg chg="add">
        <pc:chgData name="Kellermann, Demian (CYS DEF OPS-DE)" userId="0961c1fd-f967-4660-b634-1c9ce6af0b19" providerId="ADAL" clId="{513664E0-C945-4B00-AC06-F205727D86B6}" dt="2023-10-05T13:12:00.231" v="11139" actId="2890"/>
        <pc:sldMkLst>
          <pc:docMk/>
          <pc:sldMk cId="2343337875" sldId="1259"/>
        </pc:sldMkLst>
      </pc:sldChg>
      <pc:sldChg chg="addSp modSp add mod ord">
        <pc:chgData name="Kellermann, Demian (CYS DEF OPS-DE)" userId="0961c1fd-f967-4660-b634-1c9ce6af0b19" providerId="ADAL" clId="{513664E0-C945-4B00-AC06-F205727D86B6}" dt="2023-10-05T15:20:19.012" v="12246" actId="14826"/>
        <pc:sldMkLst>
          <pc:docMk/>
          <pc:sldMk cId="2176283459" sldId="1260"/>
        </pc:sldMkLst>
        <pc:spChg chg="mod">
          <ac:chgData name="Kellermann, Demian (CYS DEF OPS-DE)" userId="0961c1fd-f967-4660-b634-1c9ce6af0b19" providerId="ADAL" clId="{513664E0-C945-4B00-AC06-F205727D86B6}" dt="2023-10-05T13:21:30.201" v="11173" actId="20577"/>
          <ac:spMkLst>
            <pc:docMk/>
            <pc:sldMk cId="2176283459" sldId="1260"/>
            <ac:spMk id="5" creationId="{F640B5D6-DA30-4A72-90BF-4686C1ACCA99}"/>
          </ac:spMkLst>
        </pc:spChg>
        <pc:picChg chg="add mod ord">
          <ac:chgData name="Kellermann, Demian (CYS DEF OPS-DE)" userId="0961c1fd-f967-4660-b634-1c9ce6af0b19" providerId="ADAL" clId="{513664E0-C945-4B00-AC06-F205727D86B6}" dt="2023-10-05T15:20:19.012" v="12246" actId="14826"/>
          <ac:picMkLst>
            <pc:docMk/>
            <pc:sldMk cId="2176283459" sldId="1260"/>
            <ac:picMk id="2" creationId="{870766BD-4512-8ECA-483E-ED0A9FBCC93F}"/>
          </ac:picMkLst>
        </pc:picChg>
      </pc:sldChg>
      <pc:sldChg chg="delSp modSp add mod">
        <pc:chgData name="Kellermann, Demian (CYS DEF OPS-DE)" userId="0961c1fd-f967-4660-b634-1c9ce6af0b19" providerId="ADAL" clId="{513664E0-C945-4B00-AC06-F205727D86B6}" dt="2023-10-05T13:29:48.573" v="11917" actId="14100"/>
        <pc:sldMkLst>
          <pc:docMk/>
          <pc:sldMk cId="3755858312" sldId="1261"/>
        </pc:sldMkLst>
        <pc:spChg chg="mod">
          <ac:chgData name="Kellermann, Demian (CYS DEF OPS-DE)" userId="0961c1fd-f967-4660-b634-1c9ce6af0b19" providerId="ADAL" clId="{513664E0-C945-4B00-AC06-F205727D86B6}" dt="2023-10-05T13:22:58.658" v="11206" actId="20577"/>
          <ac:spMkLst>
            <pc:docMk/>
            <pc:sldMk cId="3755858312" sldId="1261"/>
            <ac:spMk id="2" creationId="{813C3CFC-9697-4716-A651-26E69FE6AB0F}"/>
          </ac:spMkLst>
        </pc:spChg>
        <pc:spChg chg="mod">
          <ac:chgData name="Kellermann, Demian (CYS DEF OPS-DE)" userId="0961c1fd-f967-4660-b634-1c9ce6af0b19" providerId="ADAL" clId="{513664E0-C945-4B00-AC06-F205727D86B6}" dt="2023-10-05T13:29:48.573" v="11917" actId="14100"/>
          <ac:spMkLst>
            <pc:docMk/>
            <pc:sldMk cId="3755858312" sldId="1261"/>
            <ac:spMk id="3" creationId="{43328248-7ABA-7C65-3EF9-901B67BEFBBD}"/>
          </ac:spMkLst>
        </pc:spChg>
        <pc:spChg chg="del">
          <ac:chgData name="Kellermann, Demian (CYS DEF OPS-DE)" userId="0961c1fd-f967-4660-b634-1c9ce6af0b19" providerId="ADAL" clId="{513664E0-C945-4B00-AC06-F205727D86B6}" dt="2023-10-05T13:29:05.367" v="11912" actId="478"/>
          <ac:spMkLst>
            <pc:docMk/>
            <pc:sldMk cId="3755858312" sldId="1261"/>
            <ac:spMk id="8" creationId="{7187C8E5-825C-1C08-DE2B-85B16B5F2EE3}"/>
          </ac:spMkLst>
        </pc:spChg>
      </pc:sldChg>
      <pc:sldChg chg="add modAnim">
        <pc:chgData name="Kellermann, Demian (CYS DEF OPS-DE)" userId="0961c1fd-f967-4660-b634-1c9ce6af0b19" providerId="ADAL" clId="{513664E0-C945-4B00-AC06-F205727D86B6}" dt="2023-10-05T14:24:40.651" v="12158"/>
        <pc:sldMkLst>
          <pc:docMk/>
          <pc:sldMk cId="3092413507" sldId="1262"/>
        </pc:sldMkLst>
      </pc:sldChg>
      <pc:sldMasterChg chg="modSp mod delSldLayout modSldLayout">
        <pc:chgData name="Kellermann, Demian (CYS DEF OPS-DE)" userId="0961c1fd-f967-4660-b634-1c9ce6af0b19" providerId="ADAL" clId="{513664E0-C945-4B00-AC06-F205727D86B6}" dt="2023-09-28T12:31:24.579" v="1573" actId="47"/>
        <pc:sldMasterMkLst>
          <pc:docMk/>
          <pc:sldMasterMk cId="1698585145" sldId="2147483648"/>
        </pc:sldMasterMkLst>
        <pc:spChg chg="mod">
          <ac:chgData name="Kellermann, Demian (CYS DEF OPS-DE)" userId="0961c1fd-f967-4660-b634-1c9ce6af0b19" providerId="ADAL" clId="{513664E0-C945-4B00-AC06-F205727D86B6}" dt="2023-09-28T11:05:13.836" v="340" actId="20577"/>
          <ac:spMkLst>
            <pc:docMk/>
            <pc:sldMasterMk cId="1698585145" sldId="2147483648"/>
            <ac:spMk id="5" creationId="{4F5CAFE5-0972-49AB-B42B-7C613C153AFE}"/>
          </ac:spMkLst>
        </pc:spChg>
        <pc:sldLayoutChg chg="modSp mod">
          <pc:chgData name="Kellermann, Demian (CYS DEF OPS-DE)" userId="0961c1fd-f967-4660-b634-1c9ce6af0b19" providerId="ADAL" clId="{513664E0-C945-4B00-AC06-F205727D86B6}" dt="2023-09-28T11:05:41.910" v="341"/>
          <pc:sldLayoutMkLst>
            <pc:docMk/>
            <pc:sldMasterMk cId="1698585145" sldId="2147483648"/>
            <pc:sldLayoutMk cId="4100799088" sldId="2147483678"/>
          </pc:sldLayoutMkLst>
          <pc:spChg chg="mod">
            <ac:chgData name="Kellermann, Demian (CYS DEF OPS-DE)" userId="0961c1fd-f967-4660-b634-1c9ce6af0b19" providerId="ADAL" clId="{513664E0-C945-4B00-AC06-F205727D86B6}" dt="2023-09-28T11:05:41.910" v="341"/>
            <ac:spMkLst>
              <pc:docMk/>
              <pc:sldMasterMk cId="1698585145" sldId="2147483648"/>
              <pc:sldLayoutMk cId="4100799088" sldId="2147483678"/>
              <ac:spMk id="8" creationId="{3279A350-3BB2-4CA2-A422-8F5A951F6F64}"/>
            </ac:spMkLst>
          </pc:spChg>
        </pc:sldLayoutChg>
        <pc:sldLayoutChg chg="del">
          <pc:chgData name="Kellermann, Demian (CYS DEF OPS-DE)" userId="0961c1fd-f967-4660-b634-1c9ce6af0b19" providerId="ADAL" clId="{513664E0-C945-4B00-AC06-F205727D86B6}" dt="2023-09-28T12:31:24.579" v="1573" actId="47"/>
          <pc:sldLayoutMkLst>
            <pc:docMk/>
            <pc:sldMasterMk cId="1698585145" sldId="2147483648"/>
            <pc:sldLayoutMk cId="3376219841" sldId="2147483799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631222E-7FB5-49ED-AFFA-C9A953749F5B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8711A827-8C97-49A7-8F5C-BE81A4ED93B4}">
      <dgm:prSet phldrT="[Text]" custT="1"/>
      <dgm:spPr/>
      <dgm:t>
        <a:bodyPr/>
        <a:lstStyle/>
        <a:p>
          <a:r>
            <a:rPr lang="en-GB" sz="1800" dirty="0"/>
            <a:t>Automation Backend / Infrastructure</a:t>
          </a:r>
          <a:endParaRPr lang="de-DE" sz="1800" dirty="0"/>
        </a:p>
      </dgm:t>
    </dgm:pt>
    <dgm:pt modelId="{479A5182-4EE4-4DB2-9B68-4EBCCFB321A1}" type="parTrans" cxnId="{641F62F5-8CAA-49E9-85C4-47584F260C6E}">
      <dgm:prSet/>
      <dgm:spPr/>
      <dgm:t>
        <a:bodyPr/>
        <a:lstStyle/>
        <a:p>
          <a:endParaRPr lang="de-DE"/>
        </a:p>
      </dgm:t>
    </dgm:pt>
    <dgm:pt modelId="{28A325AD-74B7-4ACE-9622-7145CF9AB7DA}" type="sibTrans" cxnId="{641F62F5-8CAA-49E9-85C4-47584F260C6E}">
      <dgm:prSet/>
      <dgm:spPr/>
      <dgm:t>
        <a:bodyPr/>
        <a:lstStyle/>
        <a:p>
          <a:endParaRPr lang="de-DE"/>
        </a:p>
      </dgm:t>
    </dgm:pt>
    <dgm:pt modelId="{3C746A59-A5BB-4CB9-9ED2-5902E4D2CAA8}">
      <dgm:prSet phldrT="[Text]" custT="1"/>
      <dgm:spPr/>
      <dgm:t>
        <a:bodyPr/>
        <a:lstStyle/>
        <a:p>
          <a:r>
            <a:rPr lang="en-GB" sz="1800" dirty="0"/>
            <a:t>User Interface</a:t>
          </a:r>
          <a:endParaRPr lang="de-DE" sz="1800" dirty="0"/>
        </a:p>
      </dgm:t>
    </dgm:pt>
    <dgm:pt modelId="{06ACF104-60F5-4C18-86C3-C4026D385B74}" type="parTrans" cxnId="{CB5F3EF4-1860-4995-A0CB-722B993FA13D}">
      <dgm:prSet/>
      <dgm:spPr/>
      <dgm:t>
        <a:bodyPr/>
        <a:lstStyle/>
        <a:p>
          <a:endParaRPr lang="de-DE"/>
        </a:p>
      </dgm:t>
    </dgm:pt>
    <dgm:pt modelId="{C353BFF0-F335-4CBB-AACE-2C66D11768DE}" type="sibTrans" cxnId="{CB5F3EF4-1860-4995-A0CB-722B993FA13D}">
      <dgm:prSet/>
      <dgm:spPr/>
      <dgm:t>
        <a:bodyPr/>
        <a:lstStyle/>
        <a:p>
          <a:endParaRPr lang="de-DE"/>
        </a:p>
      </dgm:t>
    </dgm:pt>
    <dgm:pt modelId="{96EFA7A2-31C6-4744-AF69-DA7BBA61FC78}">
      <dgm:prSet phldrT="[Text]"/>
      <dgm:spPr/>
      <dgm:t>
        <a:bodyPr/>
        <a:lstStyle/>
        <a:p>
          <a:r>
            <a:rPr lang="en-GB" dirty="0"/>
            <a:t>Common Tool Interface</a:t>
          </a:r>
          <a:endParaRPr lang="de-DE" dirty="0"/>
        </a:p>
      </dgm:t>
    </dgm:pt>
    <dgm:pt modelId="{D81D02FB-1B3A-43F2-BAB8-E73FDE9DF2B2}" type="parTrans" cxnId="{696C663F-D91A-4BD6-9CC3-5E555B42BE61}">
      <dgm:prSet/>
      <dgm:spPr/>
      <dgm:t>
        <a:bodyPr/>
        <a:lstStyle/>
        <a:p>
          <a:endParaRPr lang="de-DE"/>
        </a:p>
      </dgm:t>
    </dgm:pt>
    <dgm:pt modelId="{A8E3A7FB-A4EA-44C9-A83E-F3BB8EADC04D}" type="sibTrans" cxnId="{696C663F-D91A-4BD6-9CC3-5E555B42BE61}">
      <dgm:prSet/>
      <dgm:spPr/>
      <dgm:t>
        <a:bodyPr/>
        <a:lstStyle/>
        <a:p>
          <a:endParaRPr lang="de-DE"/>
        </a:p>
      </dgm:t>
    </dgm:pt>
    <dgm:pt modelId="{A3D77CBD-3F4D-486F-82FC-AF49D08603C8}" type="pres">
      <dgm:prSet presAssocID="{8631222E-7FB5-49ED-AFFA-C9A953749F5B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F1BF47B-BC8A-4F2F-84EB-BB0168275E71}" type="pres">
      <dgm:prSet presAssocID="{8711A827-8C97-49A7-8F5C-BE81A4ED93B4}" presName="gear1" presStyleLbl="node1" presStyleIdx="0" presStyleCnt="3">
        <dgm:presLayoutVars>
          <dgm:chMax val="1"/>
          <dgm:bulletEnabled val="1"/>
        </dgm:presLayoutVars>
      </dgm:prSet>
      <dgm:spPr/>
    </dgm:pt>
    <dgm:pt modelId="{CC27512E-EC5B-4750-A872-2EEF8EEB5154}" type="pres">
      <dgm:prSet presAssocID="{8711A827-8C97-49A7-8F5C-BE81A4ED93B4}" presName="gear1srcNode" presStyleLbl="node1" presStyleIdx="0" presStyleCnt="3"/>
      <dgm:spPr/>
    </dgm:pt>
    <dgm:pt modelId="{254502F1-EFEC-4EA4-9126-DA75D78B6675}" type="pres">
      <dgm:prSet presAssocID="{8711A827-8C97-49A7-8F5C-BE81A4ED93B4}" presName="gear1dstNode" presStyleLbl="node1" presStyleIdx="0" presStyleCnt="3"/>
      <dgm:spPr/>
    </dgm:pt>
    <dgm:pt modelId="{5497EC3F-1D70-4D3E-8B67-3CC52CC9E611}" type="pres">
      <dgm:prSet presAssocID="{96EFA7A2-31C6-4744-AF69-DA7BBA61FC78}" presName="gear2" presStyleLbl="node1" presStyleIdx="1" presStyleCnt="3">
        <dgm:presLayoutVars>
          <dgm:chMax val="1"/>
          <dgm:bulletEnabled val="1"/>
        </dgm:presLayoutVars>
      </dgm:prSet>
      <dgm:spPr/>
    </dgm:pt>
    <dgm:pt modelId="{843A8DCE-D8EF-4266-B929-89709E1D227F}" type="pres">
      <dgm:prSet presAssocID="{96EFA7A2-31C6-4744-AF69-DA7BBA61FC78}" presName="gear2srcNode" presStyleLbl="node1" presStyleIdx="1" presStyleCnt="3"/>
      <dgm:spPr/>
    </dgm:pt>
    <dgm:pt modelId="{A0EAFF53-B6EC-41C4-ABC7-899CFC4D205A}" type="pres">
      <dgm:prSet presAssocID="{96EFA7A2-31C6-4744-AF69-DA7BBA61FC78}" presName="gear2dstNode" presStyleLbl="node1" presStyleIdx="1" presStyleCnt="3"/>
      <dgm:spPr/>
    </dgm:pt>
    <dgm:pt modelId="{F3EB9AC8-3319-43B1-A321-3D46BA77D0FC}" type="pres">
      <dgm:prSet presAssocID="{3C746A59-A5BB-4CB9-9ED2-5902E4D2CAA8}" presName="gear3" presStyleLbl="node1" presStyleIdx="2" presStyleCnt="3"/>
      <dgm:spPr/>
    </dgm:pt>
    <dgm:pt modelId="{1653B0FA-C5BA-4552-941F-6232286A5305}" type="pres">
      <dgm:prSet presAssocID="{3C746A59-A5BB-4CB9-9ED2-5902E4D2CAA8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C888A136-F308-45A5-A682-6ADC24719645}" type="pres">
      <dgm:prSet presAssocID="{3C746A59-A5BB-4CB9-9ED2-5902E4D2CAA8}" presName="gear3srcNode" presStyleLbl="node1" presStyleIdx="2" presStyleCnt="3"/>
      <dgm:spPr/>
    </dgm:pt>
    <dgm:pt modelId="{4C755A75-B825-4910-9A57-7F149CB48DC5}" type="pres">
      <dgm:prSet presAssocID="{3C746A59-A5BB-4CB9-9ED2-5902E4D2CAA8}" presName="gear3dstNode" presStyleLbl="node1" presStyleIdx="2" presStyleCnt="3"/>
      <dgm:spPr/>
    </dgm:pt>
    <dgm:pt modelId="{BE6846E6-25DA-46FC-84F0-7BB89F941524}" type="pres">
      <dgm:prSet presAssocID="{28A325AD-74B7-4ACE-9622-7145CF9AB7DA}" presName="connector1" presStyleLbl="sibTrans2D1" presStyleIdx="0" presStyleCnt="3"/>
      <dgm:spPr/>
    </dgm:pt>
    <dgm:pt modelId="{9E0B643B-C118-4A7A-86E0-90204E74BB4D}" type="pres">
      <dgm:prSet presAssocID="{A8E3A7FB-A4EA-44C9-A83E-F3BB8EADC04D}" presName="connector2" presStyleLbl="sibTrans2D1" presStyleIdx="1" presStyleCnt="3"/>
      <dgm:spPr/>
    </dgm:pt>
    <dgm:pt modelId="{71E2ECDF-4E84-459D-8C63-3FA8F611797C}" type="pres">
      <dgm:prSet presAssocID="{C353BFF0-F335-4CBB-AACE-2C66D11768DE}" presName="connector3" presStyleLbl="sibTrans2D1" presStyleIdx="2" presStyleCnt="3"/>
      <dgm:spPr/>
    </dgm:pt>
  </dgm:ptLst>
  <dgm:cxnLst>
    <dgm:cxn modelId="{7316BB07-67FA-4590-81A1-EDFA02B9A200}" type="presOf" srcId="{A8E3A7FB-A4EA-44C9-A83E-F3BB8EADC04D}" destId="{9E0B643B-C118-4A7A-86E0-90204E74BB4D}" srcOrd="0" destOrd="0" presId="urn:microsoft.com/office/officeart/2005/8/layout/gear1"/>
    <dgm:cxn modelId="{6D945217-1A42-480F-9339-FD143CE3AC8B}" type="presOf" srcId="{8711A827-8C97-49A7-8F5C-BE81A4ED93B4}" destId="{254502F1-EFEC-4EA4-9126-DA75D78B6675}" srcOrd="2" destOrd="0" presId="urn:microsoft.com/office/officeart/2005/8/layout/gear1"/>
    <dgm:cxn modelId="{BB7DEF18-931C-4734-BDBC-4B7785839669}" type="presOf" srcId="{3C746A59-A5BB-4CB9-9ED2-5902E4D2CAA8}" destId="{F3EB9AC8-3319-43B1-A321-3D46BA77D0FC}" srcOrd="0" destOrd="0" presId="urn:microsoft.com/office/officeart/2005/8/layout/gear1"/>
    <dgm:cxn modelId="{BB417B1D-86FF-41FD-A8F8-8A1E387916DE}" type="presOf" srcId="{8711A827-8C97-49A7-8F5C-BE81A4ED93B4}" destId="{2F1BF47B-BC8A-4F2F-84EB-BB0168275E71}" srcOrd="0" destOrd="0" presId="urn:microsoft.com/office/officeart/2005/8/layout/gear1"/>
    <dgm:cxn modelId="{B591A721-18C6-4814-8A76-0279B671C808}" type="presOf" srcId="{96EFA7A2-31C6-4744-AF69-DA7BBA61FC78}" destId="{843A8DCE-D8EF-4266-B929-89709E1D227F}" srcOrd="1" destOrd="0" presId="urn:microsoft.com/office/officeart/2005/8/layout/gear1"/>
    <dgm:cxn modelId="{F740EC3B-F77F-4FF0-A3B3-3163AA892863}" type="presOf" srcId="{3C746A59-A5BB-4CB9-9ED2-5902E4D2CAA8}" destId="{4C755A75-B825-4910-9A57-7F149CB48DC5}" srcOrd="3" destOrd="0" presId="urn:microsoft.com/office/officeart/2005/8/layout/gear1"/>
    <dgm:cxn modelId="{696C663F-D91A-4BD6-9CC3-5E555B42BE61}" srcId="{8631222E-7FB5-49ED-AFFA-C9A953749F5B}" destId="{96EFA7A2-31C6-4744-AF69-DA7BBA61FC78}" srcOrd="1" destOrd="0" parTransId="{D81D02FB-1B3A-43F2-BAB8-E73FDE9DF2B2}" sibTransId="{A8E3A7FB-A4EA-44C9-A83E-F3BB8EADC04D}"/>
    <dgm:cxn modelId="{721CA865-31CA-4DF6-A512-85EBE838A03B}" type="presOf" srcId="{96EFA7A2-31C6-4744-AF69-DA7BBA61FC78}" destId="{5497EC3F-1D70-4D3E-8B67-3CC52CC9E611}" srcOrd="0" destOrd="0" presId="urn:microsoft.com/office/officeart/2005/8/layout/gear1"/>
    <dgm:cxn modelId="{118AC567-DB30-40ED-878A-2EEEF8EF1112}" type="presOf" srcId="{96EFA7A2-31C6-4744-AF69-DA7BBA61FC78}" destId="{A0EAFF53-B6EC-41C4-ABC7-899CFC4D205A}" srcOrd="2" destOrd="0" presId="urn:microsoft.com/office/officeart/2005/8/layout/gear1"/>
    <dgm:cxn modelId="{1C641B78-42C8-4913-BEAB-F62330C2D77C}" type="presOf" srcId="{3C746A59-A5BB-4CB9-9ED2-5902E4D2CAA8}" destId="{1653B0FA-C5BA-4552-941F-6232286A5305}" srcOrd="1" destOrd="0" presId="urn:microsoft.com/office/officeart/2005/8/layout/gear1"/>
    <dgm:cxn modelId="{95DBBE7E-08BE-4876-817D-458F28AE12BB}" type="presOf" srcId="{8711A827-8C97-49A7-8F5C-BE81A4ED93B4}" destId="{CC27512E-EC5B-4750-A872-2EEF8EEB5154}" srcOrd="1" destOrd="0" presId="urn:microsoft.com/office/officeart/2005/8/layout/gear1"/>
    <dgm:cxn modelId="{CEDA6380-520E-472E-B340-512B0B10F950}" type="presOf" srcId="{28A325AD-74B7-4ACE-9622-7145CF9AB7DA}" destId="{BE6846E6-25DA-46FC-84F0-7BB89F941524}" srcOrd="0" destOrd="0" presId="urn:microsoft.com/office/officeart/2005/8/layout/gear1"/>
    <dgm:cxn modelId="{F255159E-B4C0-425E-B7ED-4B28C775356C}" type="presOf" srcId="{C353BFF0-F335-4CBB-AACE-2C66D11768DE}" destId="{71E2ECDF-4E84-459D-8C63-3FA8F611797C}" srcOrd="0" destOrd="0" presId="urn:microsoft.com/office/officeart/2005/8/layout/gear1"/>
    <dgm:cxn modelId="{EBC833B4-A703-456B-A323-869EC2A19EC3}" type="presOf" srcId="{8631222E-7FB5-49ED-AFFA-C9A953749F5B}" destId="{A3D77CBD-3F4D-486F-82FC-AF49D08603C8}" srcOrd="0" destOrd="0" presId="urn:microsoft.com/office/officeart/2005/8/layout/gear1"/>
    <dgm:cxn modelId="{F7C6E4D1-39F9-46AA-94EE-8835797283BF}" type="presOf" srcId="{3C746A59-A5BB-4CB9-9ED2-5902E4D2CAA8}" destId="{C888A136-F308-45A5-A682-6ADC24719645}" srcOrd="2" destOrd="0" presId="urn:microsoft.com/office/officeart/2005/8/layout/gear1"/>
    <dgm:cxn modelId="{CB5F3EF4-1860-4995-A0CB-722B993FA13D}" srcId="{8631222E-7FB5-49ED-AFFA-C9A953749F5B}" destId="{3C746A59-A5BB-4CB9-9ED2-5902E4D2CAA8}" srcOrd="2" destOrd="0" parTransId="{06ACF104-60F5-4C18-86C3-C4026D385B74}" sibTransId="{C353BFF0-F335-4CBB-AACE-2C66D11768DE}"/>
    <dgm:cxn modelId="{641F62F5-8CAA-49E9-85C4-47584F260C6E}" srcId="{8631222E-7FB5-49ED-AFFA-C9A953749F5B}" destId="{8711A827-8C97-49A7-8F5C-BE81A4ED93B4}" srcOrd="0" destOrd="0" parTransId="{479A5182-4EE4-4DB2-9B68-4EBCCFB321A1}" sibTransId="{28A325AD-74B7-4ACE-9622-7145CF9AB7DA}"/>
    <dgm:cxn modelId="{C1BEEF26-475D-4169-BF83-569C2F8EEBD3}" type="presParOf" srcId="{A3D77CBD-3F4D-486F-82FC-AF49D08603C8}" destId="{2F1BF47B-BC8A-4F2F-84EB-BB0168275E71}" srcOrd="0" destOrd="0" presId="urn:microsoft.com/office/officeart/2005/8/layout/gear1"/>
    <dgm:cxn modelId="{6ED11CA0-C975-46D6-B32E-26E85A9C04D6}" type="presParOf" srcId="{A3D77CBD-3F4D-486F-82FC-AF49D08603C8}" destId="{CC27512E-EC5B-4750-A872-2EEF8EEB5154}" srcOrd="1" destOrd="0" presId="urn:microsoft.com/office/officeart/2005/8/layout/gear1"/>
    <dgm:cxn modelId="{DE367693-1E34-4AB7-97FC-5762FEE025FA}" type="presParOf" srcId="{A3D77CBD-3F4D-486F-82FC-AF49D08603C8}" destId="{254502F1-EFEC-4EA4-9126-DA75D78B6675}" srcOrd="2" destOrd="0" presId="urn:microsoft.com/office/officeart/2005/8/layout/gear1"/>
    <dgm:cxn modelId="{C0E33D81-4338-428E-87F8-F9E89AB2DA64}" type="presParOf" srcId="{A3D77CBD-3F4D-486F-82FC-AF49D08603C8}" destId="{5497EC3F-1D70-4D3E-8B67-3CC52CC9E611}" srcOrd="3" destOrd="0" presId="urn:microsoft.com/office/officeart/2005/8/layout/gear1"/>
    <dgm:cxn modelId="{2495BB47-B1FC-4F64-BC56-54D8BEEE7F9E}" type="presParOf" srcId="{A3D77CBD-3F4D-486F-82FC-AF49D08603C8}" destId="{843A8DCE-D8EF-4266-B929-89709E1D227F}" srcOrd="4" destOrd="0" presId="urn:microsoft.com/office/officeart/2005/8/layout/gear1"/>
    <dgm:cxn modelId="{53AF2213-1133-45FA-933F-DA3B0AE158CA}" type="presParOf" srcId="{A3D77CBD-3F4D-486F-82FC-AF49D08603C8}" destId="{A0EAFF53-B6EC-41C4-ABC7-899CFC4D205A}" srcOrd="5" destOrd="0" presId="urn:microsoft.com/office/officeart/2005/8/layout/gear1"/>
    <dgm:cxn modelId="{8F6E68B7-E94B-4ABE-A54F-E03B6FCD1A0C}" type="presParOf" srcId="{A3D77CBD-3F4D-486F-82FC-AF49D08603C8}" destId="{F3EB9AC8-3319-43B1-A321-3D46BA77D0FC}" srcOrd="6" destOrd="0" presId="urn:microsoft.com/office/officeart/2005/8/layout/gear1"/>
    <dgm:cxn modelId="{B491952B-58B5-4D9A-9B4B-A1CE287577EF}" type="presParOf" srcId="{A3D77CBD-3F4D-486F-82FC-AF49D08603C8}" destId="{1653B0FA-C5BA-4552-941F-6232286A5305}" srcOrd="7" destOrd="0" presId="urn:microsoft.com/office/officeart/2005/8/layout/gear1"/>
    <dgm:cxn modelId="{1A39774F-858F-4F9B-B6CB-6D4080E733E2}" type="presParOf" srcId="{A3D77CBD-3F4D-486F-82FC-AF49D08603C8}" destId="{C888A136-F308-45A5-A682-6ADC24719645}" srcOrd="8" destOrd="0" presId="urn:microsoft.com/office/officeart/2005/8/layout/gear1"/>
    <dgm:cxn modelId="{95C93738-7DC9-4559-BCEA-2422026DE47B}" type="presParOf" srcId="{A3D77CBD-3F4D-486F-82FC-AF49D08603C8}" destId="{4C755A75-B825-4910-9A57-7F149CB48DC5}" srcOrd="9" destOrd="0" presId="urn:microsoft.com/office/officeart/2005/8/layout/gear1"/>
    <dgm:cxn modelId="{EE270BDC-E944-4567-A438-38C188B1B8C3}" type="presParOf" srcId="{A3D77CBD-3F4D-486F-82FC-AF49D08603C8}" destId="{BE6846E6-25DA-46FC-84F0-7BB89F941524}" srcOrd="10" destOrd="0" presId="urn:microsoft.com/office/officeart/2005/8/layout/gear1"/>
    <dgm:cxn modelId="{178DBEE5-2142-442D-8A6A-5C0E6D0A762B}" type="presParOf" srcId="{A3D77CBD-3F4D-486F-82FC-AF49D08603C8}" destId="{9E0B643B-C118-4A7A-86E0-90204E74BB4D}" srcOrd="11" destOrd="0" presId="urn:microsoft.com/office/officeart/2005/8/layout/gear1"/>
    <dgm:cxn modelId="{3726FD6A-A9F0-4953-B130-86C5DB82D219}" type="presParOf" srcId="{A3D77CBD-3F4D-486F-82FC-AF49D08603C8}" destId="{71E2ECDF-4E84-459D-8C63-3FA8F611797C}" srcOrd="12" destOrd="0" presId="urn:microsoft.com/office/officeart/2005/8/layout/gear1"/>
  </dgm:cxnLst>
  <dgm:bg>
    <a:noFill/>
  </dgm:bg>
  <dgm:whole>
    <a:ln w="57150"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631222E-7FB5-49ED-AFFA-C9A953749F5B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8711A827-8C97-49A7-8F5C-BE81A4ED93B4}">
      <dgm:prSet phldrT="[Text]" custT="1"/>
      <dgm:spPr/>
      <dgm:t>
        <a:bodyPr/>
        <a:lstStyle/>
        <a:p>
          <a:r>
            <a:rPr lang="en-GB" sz="1800" dirty="0"/>
            <a:t>Automation Backend / Infrastructure</a:t>
          </a:r>
          <a:endParaRPr lang="de-DE" sz="1800" dirty="0"/>
        </a:p>
      </dgm:t>
    </dgm:pt>
    <dgm:pt modelId="{479A5182-4EE4-4DB2-9B68-4EBCCFB321A1}" type="parTrans" cxnId="{641F62F5-8CAA-49E9-85C4-47584F260C6E}">
      <dgm:prSet/>
      <dgm:spPr/>
      <dgm:t>
        <a:bodyPr/>
        <a:lstStyle/>
        <a:p>
          <a:endParaRPr lang="de-DE"/>
        </a:p>
      </dgm:t>
    </dgm:pt>
    <dgm:pt modelId="{28A325AD-74B7-4ACE-9622-7145CF9AB7DA}" type="sibTrans" cxnId="{641F62F5-8CAA-49E9-85C4-47584F260C6E}">
      <dgm:prSet/>
      <dgm:spPr/>
      <dgm:t>
        <a:bodyPr/>
        <a:lstStyle/>
        <a:p>
          <a:endParaRPr lang="de-DE"/>
        </a:p>
      </dgm:t>
    </dgm:pt>
    <dgm:pt modelId="{3C746A59-A5BB-4CB9-9ED2-5902E4D2CAA8}">
      <dgm:prSet phldrT="[Text]" custT="1"/>
      <dgm:spPr/>
      <dgm:t>
        <a:bodyPr/>
        <a:lstStyle/>
        <a:p>
          <a:r>
            <a:rPr lang="en-GB" sz="1800" dirty="0"/>
            <a:t>User Interface</a:t>
          </a:r>
          <a:endParaRPr lang="de-DE" sz="1800" dirty="0"/>
        </a:p>
      </dgm:t>
    </dgm:pt>
    <dgm:pt modelId="{06ACF104-60F5-4C18-86C3-C4026D385B74}" type="parTrans" cxnId="{CB5F3EF4-1860-4995-A0CB-722B993FA13D}">
      <dgm:prSet/>
      <dgm:spPr/>
      <dgm:t>
        <a:bodyPr/>
        <a:lstStyle/>
        <a:p>
          <a:endParaRPr lang="de-DE"/>
        </a:p>
      </dgm:t>
    </dgm:pt>
    <dgm:pt modelId="{C353BFF0-F335-4CBB-AACE-2C66D11768DE}" type="sibTrans" cxnId="{CB5F3EF4-1860-4995-A0CB-722B993FA13D}">
      <dgm:prSet/>
      <dgm:spPr/>
      <dgm:t>
        <a:bodyPr/>
        <a:lstStyle/>
        <a:p>
          <a:endParaRPr lang="de-DE"/>
        </a:p>
      </dgm:t>
    </dgm:pt>
    <dgm:pt modelId="{96EFA7A2-31C6-4744-AF69-DA7BBA61FC78}">
      <dgm:prSet phldrT="[Text]"/>
      <dgm:spPr/>
      <dgm:t>
        <a:bodyPr/>
        <a:lstStyle/>
        <a:p>
          <a:r>
            <a:rPr lang="en-GB" dirty="0"/>
            <a:t>Common Tool Interface</a:t>
          </a:r>
          <a:endParaRPr lang="de-DE" dirty="0"/>
        </a:p>
      </dgm:t>
    </dgm:pt>
    <dgm:pt modelId="{D81D02FB-1B3A-43F2-BAB8-E73FDE9DF2B2}" type="parTrans" cxnId="{696C663F-D91A-4BD6-9CC3-5E555B42BE61}">
      <dgm:prSet/>
      <dgm:spPr/>
      <dgm:t>
        <a:bodyPr/>
        <a:lstStyle/>
        <a:p>
          <a:endParaRPr lang="de-DE"/>
        </a:p>
      </dgm:t>
    </dgm:pt>
    <dgm:pt modelId="{A8E3A7FB-A4EA-44C9-A83E-F3BB8EADC04D}" type="sibTrans" cxnId="{696C663F-D91A-4BD6-9CC3-5E555B42BE61}">
      <dgm:prSet/>
      <dgm:spPr/>
      <dgm:t>
        <a:bodyPr/>
        <a:lstStyle/>
        <a:p>
          <a:endParaRPr lang="de-DE"/>
        </a:p>
      </dgm:t>
    </dgm:pt>
    <dgm:pt modelId="{A3D77CBD-3F4D-486F-82FC-AF49D08603C8}" type="pres">
      <dgm:prSet presAssocID="{8631222E-7FB5-49ED-AFFA-C9A953749F5B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F1BF47B-BC8A-4F2F-84EB-BB0168275E71}" type="pres">
      <dgm:prSet presAssocID="{8711A827-8C97-49A7-8F5C-BE81A4ED93B4}" presName="gear1" presStyleLbl="node1" presStyleIdx="0" presStyleCnt="3">
        <dgm:presLayoutVars>
          <dgm:chMax val="1"/>
          <dgm:bulletEnabled val="1"/>
        </dgm:presLayoutVars>
      </dgm:prSet>
      <dgm:spPr/>
    </dgm:pt>
    <dgm:pt modelId="{CC27512E-EC5B-4750-A872-2EEF8EEB5154}" type="pres">
      <dgm:prSet presAssocID="{8711A827-8C97-49A7-8F5C-BE81A4ED93B4}" presName="gear1srcNode" presStyleLbl="node1" presStyleIdx="0" presStyleCnt="3"/>
      <dgm:spPr/>
    </dgm:pt>
    <dgm:pt modelId="{254502F1-EFEC-4EA4-9126-DA75D78B6675}" type="pres">
      <dgm:prSet presAssocID="{8711A827-8C97-49A7-8F5C-BE81A4ED93B4}" presName="gear1dstNode" presStyleLbl="node1" presStyleIdx="0" presStyleCnt="3"/>
      <dgm:spPr/>
    </dgm:pt>
    <dgm:pt modelId="{5497EC3F-1D70-4D3E-8B67-3CC52CC9E611}" type="pres">
      <dgm:prSet presAssocID="{96EFA7A2-31C6-4744-AF69-DA7BBA61FC78}" presName="gear2" presStyleLbl="node1" presStyleIdx="1" presStyleCnt="3">
        <dgm:presLayoutVars>
          <dgm:chMax val="1"/>
          <dgm:bulletEnabled val="1"/>
        </dgm:presLayoutVars>
      </dgm:prSet>
      <dgm:spPr/>
    </dgm:pt>
    <dgm:pt modelId="{843A8DCE-D8EF-4266-B929-89709E1D227F}" type="pres">
      <dgm:prSet presAssocID="{96EFA7A2-31C6-4744-AF69-DA7BBA61FC78}" presName="gear2srcNode" presStyleLbl="node1" presStyleIdx="1" presStyleCnt="3"/>
      <dgm:spPr/>
    </dgm:pt>
    <dgm:pt modelId="{A0EAFF53-B6EC-41C4-ABC7-899CFC4D205A}" type="pres">
      <dgm:prSet presAssocID="{96EFA7A2-31C6-4744-AF69-DA7BBA61FC78}" presName="gear2dstNode" presStyleLbl="node1" presStyleIdx="1" presStyleCnt="3"/>
      <dgm:spPr/>
    </dgm:pt>
    <dgm:pt modelId="{F3EB9AC8-3319-43B1-A321-3D46BA77D0FC}" type="pres">
      <dgm:prSet presAssocID="{3C746A59-A5BB-4CB9-9ED2-5902E4D2CAA8}" presName="gear3" presStyleLbl="node1" presStyleIdx="2" presStyleCnt="3"/>
      <dgm:spPr/>
    </dgm:pt>
    <dgm:pt modelId="{1653B0FA-C5BA-4552-941F-6232286A5305}" type="pres">
      <dgm:prSet presAssocID="{3C746A59-A5BB-4CB9-9ED2-5902E4D2CAA8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C888A136-F308-45A5-A682-6ADC24719645}" type="pres">
      <dgm:prSet presAssocID="{3C746A59-A5BB-4CB9-9ED2-5902E4D2CAA8}" presName="gear3srcNode" presStyleLbl="node1" presStyleIdx="2" presStyleCnt="3"/>
      <dgm:spPr/>
    </dgm:pt>
    <dgm:pt modelId="{4C755A75-B825-4910-9A57-7F149CB48DC5}" type="pres">
      <dgm:prSet presAssocID="{3C746A59-A5BB-4CB9-9ED2-5902E4D2CAA8}" presName="gear3dstNode" presStyleLbl="node1" presStyleIdx="2" presStyleCnt="3"/>
      <dgm:spPr/>
    </dgm:pt>
    <dgm:pt modelId="{BE6846E6-25DA-46FC-84F0-7BB89F941524}" type="pres">
      <dgm:prSet presAssocID="{28A325AD-74B7-4ACE-9622-7145CF9AB7DA}" presName="connector1" presStyleLbl="sibTrans2D1" presStyleIdx="0" presStyleCnt="3"/>
      <dgm:spPr/>
    </dgm:pt>
    <dgm:pt modelId="{9E0B643B-C118-4A7A-86E0-90204E74BB4D}" type="pres">
      <dgm:prSet presAssocID="{A8E3A7FB-A4EA-44C9-A83E-F3BB8EADC04D}" presName="connector2" presStyleLbl="sibTrans2D1" presStyleIdx="1" presStyleCnt="3"/>
      <dgm:spPr/>
    </dgm:pt>
    <dgm:pt modelId="{71E2ECDF-4E84-459D-8C63-3FA8F611797C}" type="pres">
      <dgm:prSet presAssocID="{C353BFF0-F335-4CBB-AACE-2C66D11768DE}" presName="connector3" presStyleLbl="sibTrans2D1" presStyleIdx="2" presStyleCnt="3"/>
      <dgm:spPr/>
    </dgm:pt>
  </dgm:ptLst>
  <dgm:cxnLst>
    <dgm:cxn modelId="{7316BB07-67FA-4590-81A1-EDFA02B9A200}" type="presOf" srcId="{A8E3A7FB-A4EA-44C9-A83E-F3BB8EADC04D}" destId="{9E0B643B-C118-4A7A-86E0-90204E74BB4D}" srcOrd="0" destOrd="0" presId="urn:microsoft.com/office/officeart/2005/8/layout/gear1"/>
    <dgm:cxn modelId="{6D945217-1A42-480F-9339-FD143CE3AC8B}" type="presOf" srcId="{8711A827-8C97-49A7-8F5C-BE81A4ED93B4}" destId="{254502F1-EFEC-4EA4-9126-DA75D78B6675}" srcOrd="2" destOrd="0" presId="urn:microsoft.com/office/officeart/2005/8/layout/gear1"/>
    <dgm:cxn modelId="{BB7DEF18-931C-4734-BDBC-4B7785839669}" type="presOf" srcId="{3C746A59-A5BB-4CB9-9ED2-5902E4D2CAA8}" destId="{F3EB9AC8-3319-43B1-A321-3D46BA77D0FC}" srcOrd="0" destOrd="0" presId="urn:microsoft.com/office/officeart/2005/8/layout/gear1"/>
    <dgm:cxn modelId="{BB417B1D-86FF-41FD-A8F8-8A1E387916DE}" type="presOf" srcId="{8711A827-8C97-49A7-8F5C-BE81A4ED93B4}" destId="{2F1BF47B-BC8A-4F2F-84EB-BB0168275E71}" srcOrd="0" destOrd="0" presId="urn:microsoft.com/office/officeart/2005/8/layout/gear1"/>
    <dgm:cxn modelId="{B591A721-18C6-4814-8A76-0279B671C808}" type="presOf" srcId="{96EFA7A2-31C6-4744-AF69-DA7BBA61FC78}" destId="{843A8DCE-D8EF-4266-B929-89709E1D227F}" srcOrd="1" destOrd="0" presId="urn:microsoft.com/office/officeart/2005/8/layout/gear1"/>
    <dgm:cxn modelId="{F740EC3B-F77F-4FF0-A3B3-3163AA892863}" type="presOf" srcId="{3C746A59-A5BB-4CB9-9ED2-5902E4D2CAA8}" destId="{4C755A75-B825-4910-9A57-7F149CB48DC5}" srcOrd="3" destOrd="0" presId="urn:microsoft.com/office/officeart/2005/8/layout/gear1"/>
    <dgm:cxn modelId="{696C663F-D91A-4BD6-9CC3-5E555B42BE61}" srcId="{8631222E-7FB5-49ED-AFFA-C9A953749F5B}" destId="{96EFA7A2-31C6-4744-AF69-DA7BBA61FC78}" srcOrd="1" destOrd="0" parTransId="{D81D02FB-1B3A-43F2-BAB8-E73FDE9DF2B2}" sibTransId="{A8E3A7FB-A4EA-44C9-A83E-F3BB8EADC04D}"/>
    <dgm:cxn modelId="{721CA865-31CA-4DF6-A512-85EBE838A03B}" type="presOf" srcId="{96EFA7A2-31C6-4744-AF69-DA7BBA61FC78}" destId="{5497EC3F-1D70-4D3E-8B67-3CC52CC9E611}" srcOrd="0" destOrd="0" presId="urn:microsoft.com/office/officeart/2005/8/layout/gear1"/>
    <dgm:cxn modelId="{118AC567-DB30-40ED-878A-2EEEF8EF1112}" type="presOf" srcId="{96EFA7A2-31C6-4744-AF69-DA7BBA61FC78}" destId="{A0EAFF53-B6EC-41C4-ABC7-899CFC4D205A}" srcOrd="2" destOrd="0" presId="urn:microsoft.com/office/officeart/2005/8/layout/gear1"/>
    <dgm:cxn modelId="{1C641B78-42C8-4913-BEAB-F62330C2D77C}" type="presOf" srcId="{3C746A59-A5BB-4CB9-9ED2-5902E4D2CAA8}" destId="{1653B0FA-C5BA-4552-941F-6232286A5305}" srcOrd="1" destOrd="0" presId="urn:microsoft.com/office/officeart/2005/8/layout/gear1"/>
    <dgm:cxn modelId="{95DBBE7E-08BE-4876-817D-458F28AE12BB}" type="presOf" srcId="{8711A827-8C97-49A7-8F5C-BE81A4ED93B4}" destId="{CC27512E-EC5B-4750-A872-2EEF8EEB5154}" srcOrd="1" destOrd="0" presId="urn:microsoft.com/office/officeart/2005/8/layout/gear1"/>
    <dgm:cxn modelId="{CEDA6380-520E-472E-B340-512B0B10F950}" type="presOf" srcId="{28A325AD-74B7-4ACE-9622-7145CF9AB7DA}" destId="{BE6846E6-25DA-46FC-84F0-7BB89F941524}" srcOrd="0" destOrd="0" presId="urn:microsoft.com/office/officeart/2005/8/layout/gear1"/>
    <dgm:cxn modelId="{F255159E-B4C0-425E-B7ED-4B28C775356C}" type="presOf" srcId="{C353BFF0-F335-4CBB-AACE-2C66D11768DE}" destId="{71E2ECDF-4E84-459D-8C63-3FA8F611797C}" srcOrd="0" destOrd="0" presId="urn:microsoft.com/office/officeart/2005/8/layout/gear1"/>
    <dgm:cxn modelId="{EBC833B4-A703-456B-A323-869EC2A19EC3}" type="presOf" srcId="{8631222E-7FB5-49ED-AFFA-C9A953749F5B}" destId="{A3D77CBD-3F4D-486F-82FC-AF49D08603C8}" srcOrd="0" destOrd="0" presId="urn:microsoft.com/office/officeart/2005/8/layout/gear1"/>
    <dgm:cxn modelId="{F7C6E4D1-39F9-46AA-94EE-8835797283BF}" type="presOf" srcId="{3C746A59-A5BB-4CB9-9ED2-5902E4D2CAA8}" destId="{C888A136-F308-45A5-A682-6ADC24719645}" srcOrd="2" destOrd="0" presId="urn:microsoft.com/office/officeart/2005/8/layout/gear1"/>
    <dgm:cxn modelId="{CB5F3EF4-1860-4995-A0CB-722B993FA13D}" srcId="{8631222E-7FB5-49ED-AFFA-C9A953749F5B}" destId="{3C746A59-A5BB-4CB9-9ED2-5902E4D2CAA8}" srcOrd="2" destOrd="0" parTransId="{06ACF104-60F5-4C18-86C3-C4026D385B74}" sibTransId="{C353BFF0-F335-4CBB-AACE-2C66D11768DE}"/>
    <dgm:cxn modelId="{641F62F5-8CAA-49E9-85C4-47584F260C6E}" srcId="{8631222E-7FB5-49ED-AFFA-C9A953749F5B}" destId="{8711A827-8C97-49A7-8F5C-BE81A4ED93B4}" srcOrd="0" destOrd="0" parTransId="{479A5182-4EE4-4DB2-9B68-4EBCCFB321A1}" sibTransId="{28A325AD-74B7-4ACE-9622-7145CF9AB7DA}"/>
    <dgm:cxn modelId="{C1BEEF26-475D-4169-BF83-569C2F8EEBD3}" type="presParOf" srcId="{A3D77CBD-3F4D-486F-82FC-AF49D08603C8}" destId="{2F1BF47B-BC8A-4F2F-84EB-BB0168275E71}" srcOrd="0" destOrd="0" presId="urn:microsoft.com/office/officeart/2005/8/layout/gear1"/>
    <dgm:cxn modelId="{6ED11CA0-C975-46D6-B32E-26E85A9C04D6}" type="presParOf" srcId="{A3D77CBD-3F4D-486F-82FC-AF49D08603C8}" destId="{CC27512E-EC5B-4750-A872-2EEF8EEB5154}" srcOrd="1" destOrd="0" presId="urn:microsoft.com/office/officeart/2005/8/layout/gear1"/>
    <dgm:cxn modelId="{DE367693-1E34-4AB7-97FC-5762FEE025FA}" type="presParOf" srcId="{A3D77CBD-3F4D-486F-82FC-AF49D08603C8}" destId="{254502F1-EFEC-4EA4-9126-DA75D78B6675}" srcOrd="2" destOrd="0" presId="urn:microsoft.com/office/officeart/2005/8/layout/gear1"/>
    <dgm:cxn modelId="{C0E33D81-4338-428E-87F8-F9E89AB2DA64}" type="presParOf" srcId="{A3D77CBD-3F4D-486F-82FC-AF49D08603C8}" destId="{5497EC3F-1D70-4D3E-8B67-3CC52CC9E611}" srcOrd="3" destOrd="0" presId="urn:microsoft.com/office/officeart/2005/8/layout/gear1"/>
    <dgm:cxn modelId="{2495BB47-B1FC-4F64-BC56-54D8BEEE7F9E}" type="presParOf" srcId="{A3D77CBD-3F4D-486F-82FC-AF49D08603C8}" destId="{843A8DCE-D8EF-4266-B929-89709E1D227F}" srcOrd="4" destOrd="0" presId="urn:microsoft.com/office/officeart/2005/8/layout/gear1"/>
    <dgm:cxn modelId="{53AF2213-1133-45FA-933F-DA3B0AE158CA}" type="presParOf" srcId="{A3D77CBD-3F4D-486F-82FC-AF49D08603C8}" destId="{A0EAFF53-B6EC-41C4-ABC7-899CFC4D205A}" srcOrd="5" destOrd="0" presId="urn:microsoft.com/office/officeart/2005/8/layout/gear1"/>
    <dgm:cxn modelId="{8F6E68B7-E94B-4ABE-A54F-E03B6FCD1A0C}" type="presParOf" srcId="{A3D77CBD-3F4D-486F-82FC-AF49D08603C8}" destId="{F3EB9AC8-3319-43B1-A321-3D46BA77D0FC}" srcOrd="6" destOrd="0" presId="urn:microsoft.com/office/officeart/2005/8/layout/gear1"/>
    <dgm:cxn modelId="{B491952B-58B5-4D9A-9B4B-A1CE287577EF}" type="presParOf" srcId="{A3D77CBD-3F4D-486F-82FC-AF49D08603C8}" destId="{1653B0FA-C5BA-4552-941F-6232286A5305}" srcOrd="7" destOrd="0" presId="urn:microsoft.com/office/officeart/2005/8/layout/gear1"/>
    <dgm:cxn modelId="{1A39774F-858F-4F9B-B6CB-6D4080E733E2}" type="presParOf" srcId="{A3D77CBD-3F4D-486F-82FC-AF49D08603C8}" destId="{C888A136-F308-45A5-A682-6ADC24719645}" srcOrd="8" destOrd="0" presId="urn:microsoft.com/office/officeart/2005/8/layout/gear1"/>
    <dgm:cxn modelId="{95C93738-7DC9-4559-BCEA-2422026DE47B}" type="presParOf" srcId="{A3D77CBD-3F4D-486F-82FC-AF49D08603C8}" destId="{4C755A75-B825-4910-9A57-7F149CB48DC5}" srcOrd="9" destOrd="0" presId="urn:microsoft.com/office/officeart/2005/8/layout/gear1"/>
    <dgm:cxn modelId="{EE270BDC-E944-4567-A438-38C188B1B8C3}" type="presParOf" srcId="{A3D77CBD-3F4D-486F-82FC-AF49D08603C8}" destId="{BE6846E6-25DA-46FC-84F0-7BB89F941524}" srcOrd="10" destOrd="0" presId="urn:microsoft.com/office/officeart/2005/8/layout/gear1"/>
    <dgm:cxn modelId="{178DBEE5-2142-442D-8A6A-5C0E6D0A762B}" type="presParOf" srcId="{A3D77CBD-3F4D-486F-82FC-AF49D08603C8}" destId="{9E0B643B-C118-4A7A-86E0-90204E74BB4D}" srcOrd="11" destOrd="0" presId="urn:microsoft.com/office/officeart/2005/8/layout/gear1"/>
    <dgm:cxn modelId="{3726FD6A-A9F0-4953-B130-86C5DB82D219}" type="presParOf" srcId="{A3D77CBD-3F4D-486F-82FC-AF49D08603C8}" destId="{71E2ECDF-4E84-459D-8C63-3FA8F611797C}" srcOrd="12" destOrd="0" presId="urn:microsoft.com/office/officeart/2005/8/layout/gear1"/>
  </dgm:cxnLst>
  <dgm:bg>
    <a:noFill/>
  </dgm:bg>
  <dgm:whole>
    <a:ln w="57150">
      <a:solidFill>
        <a:srgbClr val="009999"/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6C7A7EB-E1D1-4EF3-B986-A32FC7FED3DD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C890D414-3AE3-4417-85FF-4A5884EEC9EB}">
      <dgm:prSet phldrT="[Text]"/>
      <dgm:spPr/>
      <dgm:t>
        <a:bodyPr/>
        <a:lstStyle/>
        <a:p>
          <a:r>
            <a:rPr lang="en-GB" dirty="0"/>
            <a:t>Disk Image</a:t>
          </a:r>
          <a:endParaRPr lang="de-DE" dirty="0"/>
        </a:p>
      </dgm:t>
    </dgm:pt>
    <dgm:pt modelId="{544CC7CE-8C66-49A9-A703-33DFD7452B2A}" type="parTrans" cxnId="{5BD14C0D-A989-4083-818E-6A711A0F23E8}">
      <dgm:prSet/>
      <dgm:spPr/>
      <dgm:t>
        <a:bodyPr/>
        <a:lstStyle/>
        <a:p>
          <a:endParaRPr lang="de-DE"/>
        </a:p>
      </dgm:t>
    </dgm:pt>
    <dgm:pt modelId="{18594537-3B91-456D-B9EB-696C8E7724AD}" type="sibTrans" cxnId="{5BD14C0D-A989-4083-818E-6A711A0F23E8}">
      <dgm:prSet/>
      <dgm:spPr/>
      <dgm:t>
        <a:bodyPr/>
        <a:lstStyle/>
        <a:p>
          <a:endParaRPr lang="de-DE"/>
        </a:p>
      </dgm:t>
    </dgm:pt>
    <dgm:pt modelId="{1C89EA36-091E-4B4A-A8C6-D018D822366E}">
      <dgm:prSet phldrT="[Text]"/>
      <dgm:spPr/>
      <dgm:t>
        <a:bodyPr/>
        <a:lstStyle/>
        <a:p>
          <a:r>
            <a:rPr lang="en-GB" dirty="0"/>
            <a:t>Hash Contents</a:t>
          </a:r>
          <a:endParaRPr lang="de-DE" dirty="0"/>
        </a:p>
      </dgm:t>
    </dgm:pt>
    <dgm:pt modelId="{CF0940F2-8FEF-4AC2-9FB9-5AE18A18DDCB}" type="parTrans" cxnId="{C0D04687-066C-4D34-97B0-20DE3F900E27}">
      <dgm:prSet/>
      <dgm:spPr/>
      <dgm:t>
        <a:bodyPr/>
        <a:lstStyle/>
        <a:p>
          <a:endParaRPr lang="de-DE"/>
        </a:p>
      </dgm:t>
    </dgm:pt>
    <dgm:pt modelId="{A6A16CF8-A6C7-412A-BBA4-10A5B12CAEC0}" type="sibTrans" cxnId="{C0D04687-066C-4D34-97B0-20DE3F900E27}">
      <dgm:prSet/>
      <dgm:spPr/>
      <dgm:t>
        <a:bodyPr/>
        <a:lstStyle/>
        <a:p>
          <a:endParaRPr lang="de-DE"/>
        </a:p>
      </dgm:t>
    </dgm:pt>
    <dgm:pt modelId="{03DE2130-DD77-4BDF-BDD8-2E4A9BDE40C0}">
      <dgm:prSet phldrT="[Text]"/>
      <dgm:spPr/>
      <dgm:t>
        <a:bodyPr/>
        <a:lstStyle/>
        <a:p>
          <a:r>
            <a:rPr lang="en-GB" dirty="0"/>
            <a:t>Check </a:t>
          </a:r>
          <a:r>
            <a:rPr lang="en-GB" dirty="0" err="1"/>
            <a:t>IoCs</a:t>
          </a:r>
          <a:endParaRPr lang="de-DE" dirty="0"/>
        </a:p>
      </dgm:t>
    </dgm:pt>
    <dgm:pt modelId="{03C80B8C-BE40-483B-84DE-C0F82C3A27AD}" type="parTrans" cxnId="{1B1B0854-83BC-4445-B347-93DA3C5C1C89}">
      <dgm:prSet/>
      <dgm:spPr/>
      <dgm:t>
        <a:bodyPr/>
        <a:lstStyle/>
        <a:p>
          <a:endParaRPr lang="de-DE"/>
        </a:p>
      </dgm:t>
    </dgm:pt>
    <dgm:pt modelId="{C7AB129A-58FA-4572-BEA8-44F3550079F1}" type="sibTrans" cxnId="{1B1B0854-83BC-4445-B347-93DA3C5C1C89}">
      <dgm:prSet/>
      <dgm:spPr/>
      <dgm:t>
        <a:bodyPr/>
        <a:lstStyle/>
        <a:p>
          <a:endParaRPr lang="de-DE"/>
        </a:p>
      </dgm:t>
    </dgm:pt>
    <dgm:pt modelId="{0595420F-8A5F-4457-B62B-A68BABF80493}">
      <dgm:prSet phldrT="[Text]"/>
      <dgm:spPr/>
      <dgm:t>
        <a:bodyPr/>
        <a:lstStyle/>
        <a:p>
          <a:r>
            <a:rPr lang="en-GB" dirty="0"/>
            <a:t>Run </a:t>
          </a:r>
          <a:r>
            <a:rPr lang="en-GB" dirty="0" err="1"/>
            <a:t>yara</a:t>
          </a:r>
          <a:endParaRPr lang="de-DE" dirty="0"/>
        </a:p>
      </dgm:t>
    </dgm:pt>
    <dgm:pt modelId="{E34B344B-2D85-4BB9-AC8D-B636AB0E02F3}" type="parTrans" cxnId="{BAFFED1D-9F89-48DA-A7B8-9ECFA915D050}">
      <dgm:prSet/>
      <dgm:spPr/>
      <dgm:t>
        <a:bodyPr/>
        <a:lstStyle/>
        <a:p>
          <a:endParaRPr lang="de-DE"/>
        </a:p>
      </dgm:t>
    </dgm:pt>
    <dgm:pt modelId="{2A2BB317-218C-44DE-A461-132619F6DD6C}" type="sibTrans" cxnId="{BAFFED1D-9F89-48DA-A7B8-9ECFA915D050}">
      <dgm:prSet/>
      <dgm:spPr/>
      <dgm:t>
        <a:bodyPr/>
        <a:lstStyle/>
        <a:p>
          <a:endParaRPr lang="de-DE"/>
        </a:p>
      </dgm:t>
    </dgm:pt>
    <dgm:pt modelId="{43A3B81A-988B-46A8-B574-65EF322C0893}">
      <dgm:prSet phldrT="[Text]"/>
      <dgm:spPr/>
      <dgm:t>
        <a:bodyPr/>
        <a:lstStyle/>
        <a:p>
          <a:r>
            <a:rPr lang="en-GB" dirty="0"/>
            <a:t>Extract artifacts</a:t>
          </a:r>
          <a:endParaRPr lang="de-DE" dirty="0"/>
        </a:p>
      </dgm:t>
    </dgm:pt>
    <dgm:pt modelId="{802918C5-3429-4DF1-82AA-AA3029E80F94}" type="parTrans" cxnId="{7BE28AF8-3120-4636-826C-AE05B8B07EC2}">
      <dgm:prSet/>
      <dgm:spPr/>
      <dgm:t>
        <a:bodyPr/>
        <a:lstStyle/>
        <a:p>
          <a:endParaRPr lang="de-DE"/>
        </a:p>
      </dgm:t>
    </dgm:pt>
    <dgm:pt modelId="{31747B05-DC76-4804-8E72-8DEF67F93E08}" type="sibTrans" cxnId="{7BE28AF8-3120-4636-826C-AE05B8B07EC2}">
      <dgm:prSet/>
      <dgm:spPr/>
      <dgm:t>
        <a:bodyPr/>
        <a:lstStyle/>
        <a:p>
          <a:endParaRPr lang="de-DE"/>
        </a:p>
      </dgm:t>
    </dgm:pt>
    <dgm:pt modelId="{548363DA-D0CE-4EA3-878B-451F1FED95C3}">
      <dgm:prSet phldrT="[Text]"/>
      <dgm:spPr/>
      <dgm:t>
        <a:bodyPr/>
        <a:lstStyle/>
        <a:p>
          <a:r>
            <a:rPr lang="en-GB" dirty="0"/>
            <a:t>Parse artifacts</a:t>
          </a:r>
          <a:endParaRPr lang="de-DE" dirty="0"/>
        </a:p>
      </dgm:t>
    </dgm:pt>
    <dgm:pt modelId="{F4B1E4A8-1322-4FA7-93FA-09AB2C1C1AF7}" type="parTrans" cxnId="{2C761066-CB22-4530-A4F0-288271970E81}">
      <dgm:prSet/>
      <dgm:spPr/>
      <dgm:t>
        <a:bodyPr/>
        <a:lstStyle/>
        <a:p>
          <a:endParaRPr lang="de-DE"/>
        </a:p>
      </dgm:t>
    </dgm:pt>
    <dgm:pt modelId="{994A0838-ED2B-473A-AB73-B96C721862C1}" type="sibTrans" cxnId="{2C761066-CB22-4530-A4F0-288271970E81}">
      <dgm:prSet/>
      <dgm:spPr/>
      <dgm:t>
        <a:bodyPr/>
        <a:lstStyle/>
        <a:p>
          <a:endParaRPr lang="de-DE"/>
        </a:p>
      </dgm:t>
    </dgm:pt>
    <dgm:pt modelId="{EAFD306D-ACA4-4006-AF07-E448B2C5150D}">
      <dgm:prSet phldrT="[Text]"/>
      <dgm:spPr/>
      <dgm:t>
        <a:bodyPr/>
        <a:lstStyle/>
        <a:p>
          <a:r>
            <a:rPr lang="en-GB" dirty="0"/>
            <a:t>Check </a:t>
          </a:r>
          <a:r>
            <a:rPr lang="en-GB" dirty="0" err="1"/>
            <a:t>IoCs</a:t>
          </a:r>
          <a:endParaRPr lang="de-DE" dirty="0"/>
        </a:p>
      </dgm:t>
    </dgm:pt>
    <dgm:pt modelId="{60724F4A-CAFE-47B6-8AC0-41B181521F49}" type="parTrans" cxnId="{661CEF12-4821-41C5-8FA6-8A73B50D2BE7}">
      <dgm:prSet/>
      <dgm:spPr/>
      <dgm:t>
        <a:bodyPr/>
        <a:lstStyle/>
        <a:p>
          <a:endParaRPr lang="de-DE"/>
        </a:p>
      </dgm:t>
    </dgm:pt>
    <dgm:pt modelId="{96024F80-E4A0-4465-9209-8F739E2745B0}" type="sibTrans" cxnId="{661CEF12-4821-41C5-8FA6-8A73B50D2BE7}">
      <dgm:prSet/>
      <dgm:spPr/>
      <dgm:t>
        <a:bodyPr/>
        <a:lstStyle/>
        <a:p>
          <a:endParaRPr lang="de-DE"/>
        </a:p>
      </dgm:t>
    </dgm:pt>
    <dgm:pt modelId="{66F6BF0D-23E6-4217-A3EA-DBE1EB2EFFA8}" type="pres">
      <dgm:prSet presAssocID="{86C7A7EB-E1D1-4EF3-B986-A32FC7FED3DD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4566FF9-75CC-414A-A77E-814DA755E680}" type="pres">
      <dgm:prSet presAssocID="{C890D414-3AE3-4417-85FF-4A5884EEC9EB}" presName="hierRoot1" presStyleCnt="0"/>
      <dgm:spPr/>
    </dgm:pt>
    <dgm:pt modelId="{692A6A45-7259-44B3-AE32-E0B69F37BAFF}" type="pres">
      <dgm:prSet presAssocID="{C890D414-3AE3-4417-85FF-4A5884EEC9EB}" presName="composite" presStyleCnt="0"/>
      <dgm:spPr/>
    </dgm:pt>
    <dgm:pt modelId="{8DB609A1-55FD-43FA-8777-7AD06E4C0586}" type="pres">
      <dgm:prSet presAssocID="{C890D414-3AE3-4417-85FF-4A5884EEC9EB}" presName="background" presStyleLbl="node0" presStyleIdx="0" presStyleCnt="1"/>
      <dgm:spPr/>
    </dgm:pt>
    <dgm:pt modelId="{FD9F1A0E-5517-4D63-9B80-7D2FCC53C4C7}" type="pres">
      <dgm:prSet presAssocID="{C890D414-3AE3-4417-85FF-4A5884EEC9EB}" presName="text" presStyleLbl="fgAcc0" presStyleIdx="0" presStyleCnt="1">
        <dgm:presLayoutVars>
          <dgm:chPref val="3"/>
        </dgm:presLayoutVars>
      </dgm:prSet>
      <dgm:spPr/>
    </dgm:pt>
    <dgm:pt modelId="{C847D0C2-A2CE-45E4-B201-55B204A7E665}" type="pres">
      <dgm:prSet presAssocID="{C890D414-3AE3-4417-85FF-4A5884EEC9EB}" presName="hierChild2" presStyleCnt="0"/>
      <dgm:spPr/>
    </dgm:pt>
    <dgm:pt modelId="{3846BB36-132B-4745-A864-DE86989C01D2}" type="pres">
      <dgm:prSet presAssocID="{CF0940F2-8FEF-4AC2-9FB9-5AE18A18DDCB}" presName="Name10" presStyleLbl="parChTrans1D2" presStyleIdx="0" presStyleCnt="3"/>
      <dgm:spPr/>
    </dgm:pt>
    <dgm:pt modelId="{CFCCD652-6C46-444D-836F-D8D08C48CD71}" type="pres">
      <dgm:prSet presAssocID="{1C89EA36-091E-4B4A-A8C6-D018D822366E}" presName="hierRoot2" presStyleCnt="0"/>
      <dgm:spPr/>
    </dgm:pt>
    <dgm:pt modelId="{78789AC9-838A-40E8-B245-D2A8E9D95D26}" type="pres">
      <dgm:prSet presAssocID="{1C89EA36-091E-4B4A-A8C6-D018D822366E}" presName="composite2" presStyleCnt="0"/>
      <dgm:spPr/>
    </dgm:pt>
    <dgm:pt modelId="{9859E584-5053-49C4-821B-01B9F1794B97}" type="pres">
      <dgm:prSet presAssocID="{1C89EA36-091E-4B4A-A8C6-D018D822366E}" presName="background2" presStyleLbl="node2" presStyleIdx="0" presStyleCnt="3"/>
      <dgm:spPr/>
    </dgm:pt>
    <dgm:pt modelId="{AA6D019F-B5D6-4C9C-80BA-89876F9F5628}" type="pres">
      <dgm:prSet presAssocID="{1C89EA36-091E-4B4A-A8C6-D018D822366E}" presName="text2" presStyleLbl="fgAcc2" presStyleIdx="0" presStyleCnt="3">
        <dgm:presLayoutVars>
          <dgm:chPref val="3"/>
        </dgm:presLayoutVars>
      </dgm:prSet>
      <dgm:spPr/>
    </dgm:pt>
    <dgm:pt modelId="{E8A17F86-B555-4BE0-A1F6-DC7E7C090780}" type="pres">
      <dgm:prSet presAssocID="{1C89EA36-091E-4B4A-A8C6-D018D822366E}" presName="hierChild3" presStyleCnt="0"/>
      <dgm:spPr/>
    </dgm:pt>
    <dgm:pt modelId="{32551BAC-098C-4F11-B96D-9ADBC977F48A}" type="pres">
      <dgm:prSet presAssocID="{03C80B8C-BE40-483B-84DE-C0F82C3A27AD}" presName="Name17" presStyleLbl="parChTrans1D3" presStyleIdx="0" presStyleCnt="2"/>
      <dgm:spPr/>
    </dgm:pt>
    <dgm:pt modelId="{F6B5B1D1-8638-4137-AAAB-18B457EE0AA5}" type="pres">
      <dgm:prSet presAssocID="{03DE2130-DD77-4BDF-BDD8-2E4A9BDE40C0}" presName="hierRoot3" presStyleCnt="0"/>
      <dgm:spPr/>
    </dgm:pt>
    <dgm:pt modelId="{8D86F908-BC1B-4630-8DFC-18168C8AE9A3}" type="pres">
      <dgm:prSet presAssocID="{03DE2130-DD77-4BDF-BDD8-2E4A9BDE40C0}" presName="composite3" presStyleCnt="0"/>
      <dgm:spPr/>
    </dgm:pt>
    <dgm:pt modelId="{A6EA29BC-4151-498F-9800-A20434B42B41}" type="pres">
      <dgm:prSet presAssocID="{03DE2130-DD77-4BDF-BDD8-2E4A9BDE40C0}" presName="background3" presStyleLbl="node3" presStyleIdx="0" presStyleCnt="2"/>
      <dgm:spPr/>
    </dgm:pt>
    <dgm:pt modelId="{B4D93F22-C07C-41C7-B02C-9C1671B90569}" type="pres">
      <dgm:prSet presAssocID="{03DE2130-DD77-4BDF-BDD8-2E4A9BDE40C0}" presName="text3" presStyleLbl="fgAcc3" presStyleIdx="0" presStyleCnt="2">
        <dgm:presLayoutVars>
          <dgm:chPref val="3"/>
        </dgm:presLayoutVars>
      </dgm:prSet>
      <dgm:spPr/>
    </dgm:pt>
    <dgm:pt modelId="{F9720C91-097C-4DF5-B74A-38E52131BCFC}" type="pres">
      <dgm:prSet presAssocID="{03DE2130-DD77-4BDF-BDD8-2E4A9BDE40C0}" presName="hierChild4" presStyleCnt="0"/>
      <dgm:spPr/>
    </dgm:pt>
    <dgm:pt modelId="{D28A3973-5388-484E-A7A1-27B784791249}" type="pres">
      <dgm:prSet presAssocID="{E34B344B-2D85-4BB9-AC8D-B636AB0E02F3}" presName="Name10" presStyleLbl="parChTrans1D2" presStyleIdx="1" presStyleCnt="3"/>
      <dgm:spPr/>
    </dgm:pt>
    <dgm:pt modelId="{AD2161B6-DD1F-4C5B-954D-3F5A0FDF3290}" type="pres">
      <dgm:prSet presAssocID="{0595420F-8A5F-4457-B62B-A68BABF80493}" presName="hierRoot2" presStyleCnt="0"/>
      <dgm:spPr/>
    </dgm:pt>
    <dgm:pt modelId="{38FBCBC5-E35A-4411-8B32-092E4CF8E597}" type="pres">
      <dgm:prSet presAssocID="{0595420F-8A5F-4457-B62B-A68BABF80493}" presName="composite2" presStyleCnt="0"/>
      <dgm:spPr/>
    </dgm:pt>
    <dgm:pt modelId="{3D7AAF04-6A93-43C9-B0D2-65847C044F87}" type="pres">
      <dgm:prSet presAssocID="{0595420F-8A5F-4457-B62B-A68BABF80493}" presName="background2" presStyleLbl="node2" presStyleIdx="1" presStyleCnt="3"/>
      <dgm:spPr/>
    </dgm:pt>
    <dgm:pt modelId="{DC2E8559-9410-43F5-AA72-E751805AD455}" type="pres">
      <dgm:prSet presAssocID="{0595420F-8A5F-4457-B62B-A68BABF80493}" presName="text2" presStyleLbl="fgAcc2" presStyleIdx="1" presStyleCnt="3">
        <dgm:presLayoutVars>
          <dgm:chPref val="3"/>
        </dgm:presLayoutVars>
      </dgm:prSet>
      <dgm:spPr/>
    </dgm:pt>
    <dgm:pt modelId="{AF3DBECF-E150-45E6-A600-2A1A8AEB9A67}" type="pres">
      <dgm:prSet presAssocID="{0595420F-8A5F-4457-B62B-A68BABF80493}" presName="hierChild3" presStyleCnt="0"/>
      <dgm:spPr/>
    </dgm:pt>
    <dgm:pt modelId="{BEA2CB2B-9A4D-49B1-B678-80CC6738D0D8}" type="pres">
      <dgm:prSet presAssocID="{802918C5-3429-4DF1-82AA-AA3029E80F94}" presName="Name10" presStyleLbl="parChTrans1D2" presStyleIdx="2" presStyleCnt="3"/>
      <dgm:spPr/>
    </dgm:pt>
    <dgm:pt modelId="{7317C4AF-26C6-45B4-BAC0-37374E2C3BD7}" type="pres">
      <dgm:prSet presAssocID="{43A3B81A-988B-46A8-B574-65EF322C0893}" presName="hierRoot2" presStyleCnt="0"/>
      <dgm:spPr/>
    </dgm:pt>
    <dgm:pt modelId="{FDB89434-8E02-4F77-87D2-8CC1567958EF}" type="pres">
      <dgm:prSet presAssocID="{43A3B81A-988B-46A8-B574-65EF322C0893}" presName="composite2" presStyleCnt="0"/>
      <dgm:spPr/>
    </dgm:pt>
    <dgm:pt modelId="{AE1144CD-BFDF-4DBC-B334-4C214DE9CB6C}" type="pres">
      <dgm:prSet presAssocID="{43A3B81A-988B-46A8-B574-65EF322C0893}" presName="background2" presStyleLbl="node2" presStyleIdx="2" presStyleCnt="3"/>
      <dgm:spPr/>
    </dgm:pt>
    <dgm:pt modelId="{EA9E3482-9B98-4594-BB52-654DAFB76E96}" type="pres">
      <dgm:prSet presAssocID="{43A3B81A-988B-46A8-B574-65EF322C0893}" presName="text2" presStyleLbl="fgAcc2" presStyleIdx="2" presStyleCnt="3">
        <dgm:presLayoutVars>
          <dgm:chPref val="3"/>
        </dgm:presLayoutVars>
      </dgm:prSet>
      <dgm:spPr/>
    </dgm:pt>
    <dgm:pt modelId="{86FF9AA8-57A6-4860-AFE7-C6C523CABA3B}" type="pres">
      <dgm:prSet presAssocID="{43A3B81A-988B-46A8-B574-65EF322C0893}" presName="hierChild3" presStyleCnt="0"/>
      <dgm:spPr/>
    </dgm:pt>
    <dgm:pt modelId="{C610FAE3-8CAC-4638-893F-68600D167916}" type="pres">
      <dgm:prSet presAssocID="{F4B1E4A8-1322-4FA7-93FA-09AB2C1C1AF7}" presName="Name17" presStyleLbl="parChTrans1D3" presStyleIdx="1" presStyleCnt="2"/>
      <dgm:spPr/>
    </dgm:pt>
    <dgm:pt modelId="{94FABF22-E07F-42E9-87BB-23B73BF4A0C9}" type="pres">
      <dgm:prSet presAssocID="{548363DA-D0CE-4EA3-878B-451F1FED95C3}" presName="hierRoot3" presStyleCnt="0"/>
      <dgm:spPr/>
    </dgm:pt>
    <dgm:pt modelId="{E2866CEE-08AE-4EF8-8259-CDB59AF59C6C}" type="pres">
      <dgm:prSet presAssocID="{548363DA-D0CE-4EA3-878B-451F1FED95C3}" presName="composite3" presStyleCnt="0"/>
      <dgm:spPr/>
    </dgm:pt>
    <dgm:pt modelId="{A6E7BB46-5F9E-43E0-9978-40C06EBE4EFE}" type="pres">
      <dgm:prSet presAssocID="{548363DA-D0CE-4EA3-878B-451F1FED95C3}" presName="background3" presStyleLbl="node3" presStyleIdx="1" presStyleCnt="2"/>
      <dgm:spPr/>
    </dgm:pt>
    <dgm:pt modelId="{6CE57A41-9281-4277-9B8E-69C6218A68E3}" type="pres">
      <dgm:prSet presAssocID="{548363DA-D0CE-4EA3-878B-451F1FED95C3}" presName="text3" presStyleLbl="fgAcc3" presStyleIdx="1" presStyleCnt="2">
        <dgm:presLayoutVars>
          <dgm:chPref val="3"/>
        </dgm:presLayoutVars>
      </dgm:prSet>
      <dgm:spPr/>
    </dgm:pt>
    <dgm:pt modelId="{D2702F73-0B01-4AF2-AD6B-8DE2B3A756EB}" type="pres">
      <dgm:prSet presAssocID="{548363DA-D0CE-4EA3-878B-451F1FED95C3}" presName="hierChild4" presStyleCnt="0"/>
      <dgm:spPr/>
    </dgm:pt>
    <dgm:pt modelId="{56AF35B2-56CF-434B-9145-5213EC42692F}" type="pres">
      <dgm:prSet presAssocID="{60724F4A-CAFE-47B6-8AC0-41B181521F49}" presName="Name23" presStyleLbl="parChTrans1D4" presStyleIdx="0" presStyleCnt="1"/>
      <dgm:spPr/>
    </dgm:pt>
    <dgm:pt modelId="{6FC5197C-B753-471C-9161-16EA6B46E983}" type="pres">
      <dgm:prSet presAssocID="{EAFD306D-ACA4-4006-AF07-E448B2C5150D}" presName="hierRoot4" presStyleCnt="0"/>
      <dgm:spPr/>
    </dgm:pt>
    <dgm:pt modelId="{BB2F4B34-FF45-47B5-BDF2-88347B82C832}" type="pres">
      <dgm:prSet presAssocID="{EAFD306D-ACA4-4006-AF07-E448B2C5150D}" presName="composite4" presStyleCnt="0"/>
      <dgm:spPr/>
    </dgm:pt>
    <dgm:pt modelId="{B5FC0489-1260-4929-8DFD-27072B14C28C}" type="pres">
      <dgm:prSet presAssocID="{EAFD306D-ACA4-4006-AF07-E448B2C5150D}" presName="background4" presStyleLbl="node4" presStyleIdx="0" presStyleCnt="1"/>
      <dgm:spPr/>
    </dgm:pt>
    <dgm:pt modelId="{D683CA2E-70A3-4B89-84E4-E2175B2C0231}" type="pres">
      <dgm:prSet presAssocID="{EAFD306D-ACA4-4006-AF07-E448B2C5150D}" presName="text4" presStyleLbl="fgAcc4" presStyleIdx="0" presStyleCnt="1">
        <dgm:presLayoutVars>
          <dgm:chPref val="3"/>
        </dgm:presLayoutVars>
      </dgm:prSet>
      <dgm:spPr/>
    </dgm:pt>
    <dgm:pt modelId="{F7074E05-5A35-4BAA-A25A-FAF77366160B}" type="pres">
      <dgm:prSet presAssocID="{EAFD306D-ACA4-4006-AF07-E448B2C5150D}" presName="hierChild5" presStyleCnt="0"/>
      <dgm:spPr/>
    </dgm:pt>
  </dgm:ptLst>
  <dgm:cxnLst>
    <dgm:cxn modelId="{5BD14C0D-A989-4083-818E-6A711A0F23E8}" srcId="{86C7A7EB-E1D1-4EF3-B986-A32FC7FED3DD}" destId="{C890D414-3AE3-4417-85FF-4A5884EEC9EB}" srcOrd="0" destOrd="0" parTransId="{544CC7CE-8C66-49A9-A703-33DFD7452B2A}" sibTransId="{18594537-3B91-456D-B9EB-696C8E7724AD}"/>
    <dgm:cxn modelId="{661CEF12-4821-41C5-8FA6-8A73B50D2BE7}" srcId="{548363DA-D0CE-4EA3-878B-451F1FED95C3}" destId="{EAFD306D-ACA4-4006-AF07-E448B2C5150D}" srcOrd="0" destOrd="0" parTransId="{60724F4A-CAFE-47B6-8AC0-41B181521F49}" sibTransId="{96024F80-E4A0-4465-9209-8F739E2745B0}"/>
    <dgm:cxn modelId="{BAFFED1D-9F89-48DA-A7B8-9ECFA915D050}" srcId="{C890D414-3AE3-4417-85FF-4A5884EEC9EB}" destId="{0595420F-8A5F-4457-B62B-A68BABF80493}" srcOrd="1" destOrd="0" parTransId="{E34B344B-2D85-4BB9-AC8D-B636AB0E02F3}" sibTransId="{2A2BB317-218C-44DE-A461-132619F6DD6C}"/>
    <dgm:cxn modelId="{629F631E-8027-4C41-93A6-CE1202E2A3AC}" type="presOf" srcId="{802918C5-3429-4DF1-82AA-AA3029E80F94}" destId="{BEA2CB2B-9A4D-49B1-B678-80CC6738D0D8}" srcOrd="0" destOrd="0" presId="urn:microsoft.com/office/officeart/2005/8/layout/hierarchy1"/>
    <dgm:cxn modelId="{17E8F22B-8117-43C0-8670-37193A72E057}" type="presOf" srcId="{0595420F-8A5F-4457-B62B-A68BABF80493}" destId="{DC2E8559-9410-43F5-AA72-E751805AD455}" srcOrd="0" destOrd="0" presId="urn:microsoft.com/office/officeart/2005/8/layout/hierarchy1"/>
    <dgm:cxn modelId="{BDEEB65B-8953-4C85-85F8-99FCAA8E49F2}" type="presOf" srcId="{03DE2130-DD77-4BDF-BDD8-2E4A9BDE40C0}" destId="{B4D93F22-C07C-41C7-B02C-9C1671B90569}" srcOrd="0" destOrd="0" presId="urn:microsoft.com/office/officeart/2005/8/layout/hierarchy1"/>
    <dgm:cxn modelId="{2C761066-CB22-4530-A4F0-288271970E81}" srcId="{43A3B81A-988B-46A8-B574-65EF322C0893}" destId="{548363DA-D0CE-4EA3-878B-451F1FED95C3}" srcOrd="0" destOrd="0" parTransId="{F4B1E4A8-1322-4FA7-93FA-09AB2C1C1AF7}" sibTransId="{994A0838-ED2B-473A-AB73-B96C721862C1}"/>
    <dgm:cxn modelId="{63454C6D-E871-493F-A269-04BF704FF8C8}" type="presOf" srcId="{F4B1E4A8-1322-4FA7-93FA-09AB2C1C1AF7}" destId="{C610FAE3-8CAC-4638-893F-68600D167916}" srcOrd="0" destOrd="0" presId="urn:microsoft.com/office/officeart/2005/8/layout/hierarchy1"/>
    <dgm:cxn modelId="{1695D171-0A54-4C62-923C-FDE51823D15C}" type="presOf" srcId="{1C89EA36-091E-4B4A-A8C6-D018D822366E}" destId="{AA6D019F-B5D6-4C9C-80BA-89876F9F5628}" srcOrd="0" destOrd="0" presId="urn:microsoft.com/office/officeart/2005/8/layout/hierarchy1"/>
    <dgm:cxn modelId="{1B1B0854-83BC-4445-B347-93DA3C5C1C89}" srcId="{1C89EA36-091E-4B4A-A8C6-D018D822366E}" destId="{03DE2130-DD77-4BDF-BDD8-2E4A9BDE40C0}" srcOrd="0" destOrd="0" parTransId="{03C80B8C-BE40-483B-84DE-C0F82C3A27AD}" sibTransId="{C7AB129A-58FA-4572-BEA8-44F3550079F1}"/>
    <dgm:cxn modelId="{727A185A-7EA2-401B-BD54-8C1876C07905}" type="presOf" srcId="{548363DA-D0CE-4EA3-878B-451F1FED95C3}" destId="{6CE57A41-9281-4277-9B8E-69C6218A68E3}" srcOrd="0" destOrd="0" presId="urn:microsoft.com/office/officeart/2005/8/layout/hierarchy1"/>
    <dgm:cxn modelId="{C0D04687-066C-4D34-97B0-20DE3F900E27}" srcId="{C890D414-3AE3-4417-85FF-4A5884EEC9EB}" destId="{1C89EA36-091E-4B4A-A8C6-D018D822366E}" srcOrd="0" destOrd="0" parTransId="{CF0940F2-8FEF-4AC2-9FB9-5AE18A18DDCB}" sibTransId="{A6A16CF8-A6C7-412A-BBA4-10A5B12CAEC0}"/>
    <dgm:cxn modelId="{A1E5E488-1EE0-437F-AF0D-858BF8F5C950}" type="presOf" srcId="{60724F4A-CAFE-47B6-8AC0-41B181521F49}" destId="{56AF35B2-56CF-434B-9145-5213EC42692F}" srcOrd="0" destOrd="0" presId="urn:microsoft.com/office/officeart/2005/8/layout/hierarchy1"/>
    <dgm:cxn modelId="{B2D0E29B-4D70-48F9-8D2A-08A18885606A}" type="presOf" srcId="{CF0940F2-8FEF-4AC2-9FB9-5AE18A18DDCB}" destId="{3846BB36-132B-4745-A864-DE86989C01D2}" srcOrd="0" destOrd="0" presId="urn:microsoft.com/office/officeart/2005/8/layout/hierarchy1"/>
    <dgm:cxn modelId="{6B7A8DA5-1A94-476E-B603-C9118A5F2C83}" type="presOf" srcId="{03C80B8C-BE40-483B-84DE-C0F82C3A27AD}" destId="{32551BAC-098C-4F11-B96D-9ADBC977F48A}" srcOrd="0" destOrd="0" presId="urn:microsoft.com/office/officeart/2005/8/layout/hierarchy1"/>
    <dgm:cxn modelId="{4C29DECE-7EBF-4419-A6FD-8A4FDE75AA1B}" type="presOf" srcId="{43A3B81A-988B-46A8-B574-65EF322C0893}" destId="{EA9E3482-9B98-4594-BB52-654DAFB76E96}" srcOrd="0" destOrd="0" presId="urn:microsoft.com/office/officeart/2005/8/layout/hierarchy1"/>
    <dgm:cxn modelId="{C9ADF4D0-A770-444D-B6D0-1DFD6E7EB89C}" type="presOf" srcId="{E34B344B-2D85-4BB9-AC8D-B636AB0E02F3}" destId="{D28A3973-5388-484E-A7A1-27B784791249}" srcOrd="0" destOrd="0" presId="urn:microsoft.com/office/officeart/2005/8/layout/hierarchy1"/>
    <dgm:cxn modelId="{2E3A8EDA-9032-458E-ADB7-816AE61F4217}" type="presOf" srcId="{EAFD306D-ACA4-4006-AF07-E448B2C5150D}" destId="{D683CA2E-70A3-4B89-84E4-E2175B2C0231}" srcOrd="0" destOrd="0" presId="urn:microsoft.com/office/officeart/2005/8/layout/hierarchy1"/>
    <dgm:cxn modelId="{578967EC-715B-4CB7-BBF7-E070C2A3300A}" type="presOf" srcId="{C890D414-3AE3-4417-85FF-4A5884EEC9EB}" destId="{FD9F1A0E-5517-4D63-9B80-7D2FCC53C4C7}" srcOrd="0" destOrd="0" presId="urn:microsoft.com/office/officeart/2005/8/layout/hierarchy1"/>
    <dgm:cxn modelId="{7BE28AF8-3120-4636-826C-AE05B8B07EC2}" srcId="{C890D414-3AE3-4417-85FF-4A5884EEC9EB}" destId="{43A3B81A-988B-46A8-B574-65EF322C0893}" srcOrd="2" destOrd="0" parTransId="{802918C5-3429-4DF1-82AA-AA3029E80F94}" sibTransId="{31747B05-DC76-4804-8E72-8DEF67F93E08}"/>
    <dgm:cxn modelId="{0FA2EFFA-06CF-4BC4-9EA7-19BCFFF6E2E0}" type="presOf" srcId="{86C7A7EB-E1D1-4EF3-B986-A32FC7FED3DD}" destId="{66F6BF0D-23E6-4217-A3EA-DBE1EB2EFFA8}" srcOrd="0" destOrd="0" presId="urn:microsoft.com/office/officeart/2005/8/layout/hierarchy1"/>
    <dgm:cxn modelId="{BD28AFA5-D3FB-4A43-8919-E76E87F6ACA0}" type="presParOf" srcId="{66F6BF0D-23E6-4217-A3EA-DBE1EB2EFFA8}" destId="{44566FF9-75CC-414A-A77E-814DA755E680}" srcOrd="0" destOrd="0" presId="urn:microsoft.com/office/officeart/2005/8/layout/hierarchy1"/>
    <dgm:cxn modelId="{4FBD61DA-3587-471F-B5D0-965B6714C207}" type="presParOf" srcId="{44566FF9-75CC-414A-A77E-814DA755E680}" destId="{692A6A45-7259-44B3-AE32-E0B69F37BAFF}" srcOrd="0" destOrd="0" presId="urn:microsoft.com/office/officeart/2005/8/layout/hierarchy1"/>
    <dgm:cxn modelId="{45EF8BF7-46A8-4B45-A421-DF9F8FDC9499}" type="presParOf" srcId="{692A6A45-7259-44B3-AE32-E0B69F37BAFF}" destId="{8DB609A1-55FD-43FA-8777-7AD06E4C0586}" srcOrd="0" destOrd="0" presId="urn:microsoft.com/office/officeart/2005/8/layout/hierarchy1"/>
    <dgm:cxn modelId="{FCB345A0-D1B2-4DD5-AD71-9CD32FFDC0B3}" type="presParOf" srcId="{692A6A45-7259-44B3-AE32-E0B69F37BAFF}" destId="{FD9F1A0E-5517-4D63-9B80-7D2FCC53C4C7}" srcOrd="1" destOrd="0" presId="urn:microsoft.com/office/officeart/2005/8/layout/hierarchy1"/>
    <dgm:cxn modelId="{B29E6F2D-3769-4EA0-9BAC-B3CCAD2764BB}" type="presParOf" srcId="{44566FF9-75CC-414A-A77E-814DA755E680}" destId="{C847D0C2-A2CE-45E4-B201-55B204A7E665}" srcOrd="1" destOrd="0" presId="urn:microsoft.com/office/officeart/2005/8/layout/hierarchy1"/>
    <dgm:cxn modelId="{A1C956DE-C42F-477D-84CD-32B41CC92CF9}" type="presParOf" srcId="{C847D0C2-A2CE-45E4-B201-55B204A7E665}" destId="{3846BB36-132B-4745-A864-DE86989C01D2}" srcOrd="0" destOrd="0" presId="urn:microsoft.com/office/officeart/2005/8/layout/hierarchy1"/>
    <dgm:cxn modelId="{0F8A4D49-1CD9-4D3D-ACB8-3E0DCA789775}" type="presParOf" srcId="{C847D0C2-A2CE-45E4-B201-55B204A7E665}" destId="{CFCCD652-6C46-444D-836F-D8D08C48CD71}" srcOrd="1" destOrd="0" presId="urn:microsoft.com/office/officeart/2005/8/layout/hierarchy1"/>
    <dgm:cxn modelId="{1D115CA7-4FEF-47AC-AFF4-70F14206B1A8}" type="presParOf" srcId="{CFCCD652-6C46-444D-836F-D8D08C48CD71}" destId="{78789AC9-838A-40E8-B245-D2A8E9D95D26}" srcOrd="0" destOrd="0" presId="urn:microsoft.com/office/officeart/2005/8/layout/hierarchy1"/>
    <dgm:cxn modelId="{C595A27A-8385-4EA4-8195-66840BBCAD5F}" type="presParOf" srcId="{78789AC9-838A-40E8-B245-D2A8E9D95D26}" destId="{9859E584-5053-49C4-821B-01B9F1794B97}" srcOrd="0" destOrd="0" presId="urn:microsoft.com/office/officeart/2005/8/layout/hierarchy1"/>
    <dgm:cxn modelId="{8BF8F26A-EE91-4D9C-8300-3B95E485428F}" type="presParOf" srcId="{78789AC9-838A-40E8-B245-D2A8E9D95D26}" destId="{AA6D019F-B5D6-4C9C-80BA-89876F9F5628}" srcOrd="1" destOrd="0" presId="urn:microsoft.com/office/officeart/2005/8/layout/hierarchy1"/>
    <dgm:cxn modelId="{8422C36D-6335-48B9-BBDE-62AC0B2228BA}" type="presParOf" srcId="{CFCCD652-6C46-444D-836F-D8D08C48CD71}" destId="{E8A17F86-B555-4BE0-A1F6-DC7E7C090780}" srcOrd="1" destOrd="0" presId="urn:microsoft.com/office/officeart/2005/8/layout/hierarchy1"/>
    <dgm:cxn modelId="{1F906428-F98C-4B6D-8A26-3B0A39F7AC02}" type="presParOf" srcId="{E8A17F86-B555-4BE0-A1F6-DC7E7C090780}" destId="{32551BAC-098C-4F11-B96D-9ADBC977F48A}" srcOrd="0" destOrd="0" presId="urn:microsoft.com/office/officeart/2005/8/layout/hierarchy1"/>
    <dgm:cxn modelId="{21F7CF43-93C0-48BA-91EF-70E7F18898B6}" type="presParOf" srcId="{E8A17F86-B555-4BE0-A1F6-DC7E7C090780}" destId="{F6B5B1D1-8638-4137-AAAB-18B457EE0AA5}" srcOrd="1" destOrd="0" presId="urn:microsoft.com/office/officeart/2005/8/layout/hierarchy1"/>
    <dgm:cxn modelId="{408D21E5-9D2B-4AAC-970E-197C7ACAEE77}" type="presParOf" srcId="{F6B5B1D1-8638-4137-AAAB-18B457EE0AA5}" destId="{8D86F908-BC1B-4630-8DFC-18168C8AE9A3}" srcOrd="0" destOrd="0" presId="urn:microsoft.com/office/officeart/2005/8/layout/hierarchy1"/>
    <dgm:cxn modelId="{154701AF-12DE-4A0A-837C-82B1739BF90C}" type="presParOf" srcId="{8D86F908-BC1B-4630-8DFC-18168C8AE9A3}" destId="{A6EA29BC-4151-498F-9800-A20434B42B41}" srcOrd="0" destOrd="0" presId="urn:microsoft.com/office/officeart/2005/8/layout/hierarchy1"/>
    <dgm:cxn modelId="{41F4567B-780B-470A-85DA-5E95540D37F5}" type="presParOf" srcId="{8D86F908-BC1B-4630-8DFC-18168C8AE9A3}" destId="{B4D93F22-C07C-41C7-B02C-9C1671B90569}" srcOrd="1" destOrd="0" presId="urn:microsoft.com/office/officeart/2005/8/layout/hierarchy1"/>
    <dgm:cxn modelId="{632DAEB8-AE9B-4448-B690-F04E9940EA30}" type="presParOf" srcId="{F6B5B1D1-8638-4137-AAAB-18B457EE0AA5}" destId="{F9720C91-097C-4DF5-B74A-38E52131BCFC}" srcOrd="1" destOrd="0" presId="urn:microsoft.com/office/officeart/2005/8/layout/hierarchy1"/>
    <dgm:cxn modelId="{D66D2043-2C98-4135-828D-BBD25227976C}" type="presParOf" srcId="{C847D0C2-A2CE-45E4-B201-55B204A7E665}" destId="{D28A3973-5388-484E-A7A1-27B784791249}" srcOrd="2" destOrd="0" presId="urn:microsoft.com/office/officeart/2005/8/layout/hierarchy1"/>
    <dgm:cxn modelId="{D7D2A575-CF98-40CD-82A6-EC1ACAF0C0DE}" type="presParOf" srcId="{C847D0C2-A2CE-45E4-B201-55B204A7E665}" destId="{AD2161B6-DD1F-4C5B-954D-3F5A0FDF3290}" srcOrd="3" destOrd="0" presId="urn:microsoft.com/office/officeart/2005/8/layout/hierarchy1"/>
    <dgm:cxn modelId="{582140FD-FC35-4D11-8CC2-50D91A9725C9}" type="presParOf" srcId="{AD2161B6-DD1F-4C5B-954D-3F5A0FDF3290}" destId="{38FBCBC5-E35A-4411-8B32-092E4CF8E597}" srcOrd="0" destOrd="0" presId="urn:microsoft.com/office/officeart/2005/8/layout/hierarchy1"/>
    <dgm:cxn modelId="{0604DB4C-40DC-4BC4-93DB-D72257206DF6}" type="presParOf" srcId="{38FBCBC5-E35A-4411-8B32-092E4CF8E597}" destId="{3D7AAF04-6A93-43C9-B0D2-65847C044F87}" srcOrd="0" destOrd="0" presId="urn:microsoft.com/office/officeart/2005/8/layout/hierarchy1"/>
    <dgm:cxn modelId="{BA336CCC-7B84-40C5-BFA3-2DDE8E5C4720}" type="presParOf" srcId="{38FBCBC5-E35A-4411-8B32-092E4CF8E597}" destId="{DC2E8559-9410-43F5-AA72-E751805AD455}" srcOrd="1" destOrd="0" presId="urn:microsoft.com/office/officeart/2005/8/layout/hierarchy1"/>
    <dgm:cxn modelId="{9C517C31-E8C7-42D1-9360-331C6CE8768B}" type="presParOf" srcId="{AD2161B6-DD1F-4C5B-954D-3F5A0FDF3290}" destId="{AF3DBECF-E150-45E6-A600-2A1A8AEB9A67}" srcOrd="1" destOrd="0" presId="urn:microsoft.com/office/officeart/2005/8/layout/hierarchy1"/>
    <dgm:cxn modelId="{DB658CC3-402F-4160-BB69-C0AB150298C3}" type="presParOf" srcId="{C847D0C2-A2CE-45E4-B201-55B204A7E665}" destId="{BEA2CB2B-9A4D-49B1-B678-80CC6738D0D8}" srcOrd="4" destOrd="0" presId="urn:microsoft.com/office/officeart/2005/8/layout/hierarchy1"/>
    <dgm:cxn modelId="{A7EF2F4B-32AF-4260-ABEF-D400C3B3DA39}" type="presParOf" srcId="{C847D0C2-A2CE-45E4-B201-55B204A7E665}" destId="{7317C4AF-26C6-45B4-BAC0-37374E2C3BD7}" srcOrd="5" destOrd="0" presId="urn:microsoft.com/office/officeart/2005/8/layout/hierarchy1"/>
    <dgm:cxn modelId="{A02D9EA1-3902-4A61-A7F0-08D07400792A}" type="presParOf" srcId="{7317C4AF-26C6-45B4-BAC0-37374E2C3BD7}" destId="{FDB89434-8E02-4F77-87D2-8CC1567958EF}" srcOrd="0" destOrd="0" presId="urn:microsoft.com/office/officeart/2005/8/layout/hierarchy1"/>
    <dgm:cxn modelId="{0321F77D-DCF8-4042-AD7E-DB1374F66BED}" type="presParOf" srcId="{FDB89434-8E02-4F77-87D2-8CC1567958EF}" destId="{AE1144CD-BFDF-4DBC-B334-4C214DE9CB6C}" srcOrd="0" destOrd="0" presId="urn:microsoft.com/office/officeart/2005/8/layout/hierarchy1"/>
    <dgm:cxn modelId="{EEE182FF-C2B5-441C-A50B-4321B15A692D}" type="presParOf" srcId="{FDB89434-8E02-4F77-87D2-8CC1567958EF}" destId="{EA9E3482-9B98-4594-BB52-654DAFB76E96}" srcOrd="1" destOrd="0" presId="urn:microsoft.com/office/officeart/2005/8/layout/hierarchy1"/>
    <dgm:cxn modelId="{47FA48F3-8CAC-4D83-8879-67E750FC0E43}" type="presParOf" srcId="{7317C4AF-26C6-45B4-BAC0-37374E2C3BD7}" destId="{86FF9AA8-57A6-4860-AFE7-C6C523CABA3B}" srcOrd="1" destOrd="0" presId="urn:microsoft.com/office/officeart/2005/8/layout/hierarchy1"/>
    <dgm:cxn modelId="{BD18DD45-8D50-4830-9041-17658E84ACBD}" type="presParOf" srcId="{86FF9AA8-57A6-4860-AFE7-C6C523CABA3B}" destId="{C610FAE3-8CAC-4638-893F-68600D167916}" srcOrd="0" destOrd="0" presId="urn:microsoft.com/office/officeart/2005/8/layout/hierarchy1"/>
    <dgm:cxn modelId="{F9C79BAC-F63A-49B2-94A0-B34C22DCA66A}" type="presParOf" srcId="{86FF9AA8-57A6-4860-AFE7-C6C523CABA3B}" destId="{94FABF22-E07F-42E9-87BB-23B73BF4A0C9}" srcOrd="1" destOrd="0" presId="urn:microsoft.com/office/officeart/2005/8/layout/hierarchy1"/>
    <dgm:cxn modelId="{4A1BAED7-A3DA-46BE-AE2A-08873BC8E0C8}" type="presParOf" srcId="{94FABF22-E07F-42E9-87BB-23B73BF4A0C9}" destId="{E2866CEE-08AE-4EF8-8259-CDB59AF59C6C}" srcOrd="0" destOrd="0" presId="urn:microsoft.com/office/officeart/2005/8/layout/hierarchy1"/>
    <dgm:cxn modelId="{CE7A2F68-2005-4443-B82C-8CCF48B61BB6}" type="presParOf" srcId="{E2866CEE-08AE-4EF8-8259-CDB59AF59C6C}" destId="{A6E7BB46-5F9E-43E0-9978-40C06EBE4EFE}" srcOrd="0" destOrd="0" presId="urn:microsoft.com/office/officeart/2005/8/layout/hierarchy1"/>
    <dgm:cxn modelId="{81904B20-0D34-4D9B-892E-DD0865F11E8D}" type="presParOf" srcId="{E2866CEE-08AE-4EF8-8259-CDB59AF59C6C}" destId="{6CE57A41-9281-4277-9B8E-69C6218A68E3}" srcOrd="1" destOrd="0" presId="urn:microsoft.com/office/officeart/2005/8/layout/hierarchy1"/>
    <dgm:cxn modelId="{633D06E8-3F6D-4E9E-BB53-94928E6A621A}" type="presParOf" srcId="{94FABF22-E07F-42E9-87BB-23B73BF4A0C9}" destId="{D2702F73-0B01-4AF2-AD6B-8DE2B3A756EB}" srcOrd="1" destOrd="0" presId="urn:microsoft.com/office/officeart/2005/8/layout/hierarchy1"/>
    <dgm:cxn modelId="{F66061FE-29D4-4B0A-8F9E-A6395105674F}" type="presParOf" srcId="{D2702F73-0B01-4AF2-AD6B-8DE2B3A756EB}" destId="{56AF35B2-56CF-434B-9145-5213EC42692F}" srcOrd="0" destOrd="0" presId="urn:microsoft.com/office/officeart/2005/8/layout/hierarchy1"/>
    <dgm:cxn modelId="{8AB5C656-6454-4FFA-BB91-A9E2DBEC7CE1}" type="presParOf" srcId="{D2702F73-0B01-4AF2-AD6B-8DE2B3A756EB}" destId="{6FC5197C-B753-471C-9161-16EA6B46E983}" srcOrd="1" destOrd="0" presId="urn:microsoft.com/office/officeart/2005/8/layout/hierarchy1"/>
    <dgm:cxn modelId="{F35E8F52-2532-4AE8-8C37-D396FE866076}" type="presParOf" srcId="{6FC5197C-B753-471C-9161-16EA6B46E983}" destId="{BB2F4B34-FF45-47B5-BDF2-88347B82C832}" srcOrd="0" destOrd="0" presId="urn:microsoft.com/office/officeart/2005/8/layout/hierarchy1"/>
    <dgm:cxn modelId="{1735041D-89D8-4B50-91FA-83516D5EA8ED}" type="presParOf" srcId="{BB2F4B34-FF45-47B5-BDF2-88347B82C832}" destId="{B5FC0489-1260-4929-8DFD-27072B14C28C}" srcOrd="0" destOrd="0" presId="urn:microsoft.com/office/officeart/2005/8/layout/hierarchy1"/>
    <dgm:cxn modelId="{A93BC1A6-D552-45EF-895D-F9027995CF32}" type="presParOf" srcId="{BB2F4B34-FF45-47B5-BDF2-88347B82C832}" destId="{D683CA2E-70A3-4B89-84E4-E2175B2C0231}" srcOrd="1" destOrd="0" presId="urn:microsoft.com/office/officeart/2005/8/layout/hierarchy1"/>
    <dgm:cxn modelId="{156F8915-5090-4533-8FA9-3E4948DE58BA}" type="presParOf" srcId="{6FC5197C-B753-471C-9161-16EA6B46E983}" destId="{F7074E05-5A35-4BAA-A25A-FAF77366160B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1BF47B-BC8A-4F2F-84EB-BB0168275E71}">
      <dsp:nvSpPr>
        <dsp:cNvPr id="0" name=""/>
        <dsp:cNvSpPr/>
      </dsp:nvSpPr>
      <dsp:spPr>
        <a:xfrm>
          <a:off x="3394924" y="2182451"/>
          <a:ext cx="2667440" cy="2667440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Automation Backend / Infrastructure</a:t>
          </a:r>
          <a:endParaRPr lang="de-DE" sz="1800" kern="1200" dirty="0"/>
        </a:p>
      </dsp:txBody>
      <dsp:txXfrm>
        <a:off x="3931198" y="2807286"/>
        <a:ext cx="1594892" cy="1371119"/>
      </dsp:txXfrm>
    </dsp:sp>
    <dsp:sp modelId="{5497EC3F-1D70-4D3E-8B67-3CC52CC9E611}">
      <dsp:nvSpPr>
        <dsp:cNvPr id="0" name=""/>
        <dsp:cNvSpPr/>
      </dsp:nvSpPr>
      <dsp:spPr>
        <a:xfrm>
          <a:off x="1842958" y="1551965"/>
          <a:ext cx="1939956" cy="1939956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/>
            <a:t>Common Tool Interface</a:t>
          </a:r>
          <a:endParaRPr lang="de-DE" sz="1700" kern="1200" dirty="0"/>
        </a:p>
      </dsp:txBody>
      <dsp:txXfrm>
        <a:off x="2331348" y="2043307"/>
        <a:ext cx="963176" cy="957272"/>
      </dsp:txXfrm>
    </dsp:sp>
    <dsp:sp modelId="{F3EB9AC8-3319-43B1-A321-3D46BA77D0FC}">
      <dsp:nvSpPr>
        <dsp:cNvPr id="0" name=""/>
        <dsp:cNvSpPr/>
      </dsp:nvSpPr>
      <dsp:spPr>
        <a:xfrm rot="20700000">
          <a:off x="2929532" y="213593"/>
          <a:ext cx="1900761" cy="1900761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User Interface</a:t>
          </a:r>
          <a:endParaRPr lang="de-DE" sz="1800" kern="1200" dirty="0"/>
        </a:p>
      </dsp:txBody>
      <dsp:txXfrm rot="-20700000">
        <a:off x="3346425" y="630485"/>
        <a:ext cx="1066976" cy="1066976"/>
      </dsp:txXfrm>
    </dsp:sp>
    <dsp:sp modelId="{BE6846E6-25DA-46FC-84F0-7BB89F941524}">
      <dsp:nvSpPr>
        <dsp:cNvPr id="0" name=""/>
        <dsp:cNvSpPr/>
      </dsp:nvSpPr>
      <dsp:spPr>
        <a:xfrm>
          <a:off x="3197078" y="1775796"/>
          <a:ext cx="3414323" cy="3414323"/>
        </a:xfrm>
        <a:prstGeom prst="circularArrow">
          <a:avLst>
            <a:gd name="adj1" fmla="val 4688"/>
            <a:gd name="adj2" fmla="val 299029"/>
            <a:gd name="adj3" fmla="val 2529871"/>
            <a:gd name="adj4" fmla="val 1583206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0B643B-C118-4A7A-86E0-90204E74BB4D}">
      <dsp:nvSpPr>
        <dsp:cNvPr id="0" name=""/>
        <dsp:cNvSpPr/>
      </dsp:nvSpPr>
      <dsp:spPr>
        <a:xfrm>
          <a:off x="1499396" y="1119912"/>
          <a:ext cx="2480719" cy="2480719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E2ECDF-4E84-459D-8C63-3FA8F611797C}">
      <dsp:nvSpPr>
        <dsp:cNvPr id="0" name=""/>
        <dsp:cNvSpPr/>
      </dsp:nvSpPr>
      <dsp:spPr>
        <a:xfrm>
          <a:off x="2489866" y="-205558"/>
          <a:ext cx="2674715" cy="2674715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1BF47B-BC8A-4F2F-84EB-BB0168275E71}">
      <dsp:nvSpPr>
        <dsp:cNvPr id="0" name=""/>
        <dsp:cNvSpPr/>
      </dsp:nvSpPr>
      <dsp:spPr>
        <a:xfrm>
          <a:off x="3394924" y="2182451"/>
          <a:ext cx="2667440" cy="2667440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Automation Backend / Infrastructure</a:t>
          </a:r>
          <a:endParaRPr lang="de-DE" sz="1800" kern="1200" dirty="0"/>
        </a:p>
      </dsp:txBody>
      <dsp:txXfrm>
        <a:off x="3931198" y="2807286"/>
        <a:ext cx="1594892" cy="1371119"/>
      </dsp:txXfrm>
    </dsp:sp>
    <dsp:sp modelId="{5497EC3F-1D70-4D3E-8B67-3CC52CC9E611}">
      <dsp:nvSpPr>
        <dsp:cNvPr id="0" name=""/>
        <dsp:cNvSpPr/>
      </dsp:nvSpPr>
      <dsp:spPr>
        <a:xfrm>
          <a:off x="1842958" y="1551965"/>
          <a:ext cx="1939956" cy="1939956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/>
            <a:t>Common Tool Interface</a:t>
          </a:r>
          <a:endParaRPr lang="de-DE" sz="1700" kern="1200" dirty="0"/>
        </a:p>
      </dsp:txBody>
      <dsp:txXfrm>
        <a:off x="2331348" y="2043307"/>
        <a:ext cx="963176" cy="957272"/>
      </dsp:txXfrm>
    </dsp:sp>
    <dsp:sp modelId="{F3EB9AC8-3319-43B1-A321-3D46BA77D0FC}">
      <dsp:nvSpPr>
        <dsp:cNvPr id="0" name=""/>
        <dsp:cNvSpPr/>
      </dsp:nvSpPr>
      <dsp:spPr>
        <a:xfrm rot="20700000">
          <a:off x="2929532" y="213593"/>
          <a:ext cx="1900761" cy="1900761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User Interface</a:t>
          </a:r>
          <a:endParaRPr lang="de-DE" sz="1800" kern="1200" dirty="0"/>
        </a:p>
      </dsp:txBody>
      <dsp:txXfrm rot="-20700000">
        <a:off x="3346425" y="630485"/>
        <a:ext cx="1066976" cy="1066976"/>
      </dsp:txXfrm>
    </dsp:sp>
    <dsp:sp modelId="{BE6846E6-25DA-46FC-84F0-7BB89F941524}">
      <dsp:nvSpPr>
        <dsp:cNvPr id="0" name=""/>
        <dsp:cNvSpPr/>
      </dsp:nvSpPr>
      <dsp:spPr>
        <a:xfrm>
          <a:off x="3197078" y="1775796"/>
          <a:ext cx="3414323" cy="3414323"/>
        </a:xfrm>
        <a:prstGeom prst="circularArrow">
          <a:avLst>
            <a:gd name="adj1" fmla="val 4688"/>
            <a:gd name="adj2" fmla="val 299029"/>
            <a:gd name="adj3" fmla="val 2529871"/>
            <a:gd name="adj4" fmla="val 1583206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0B643B-C118-4A7A-86E0-90204E74BB4D}">
      <dsp:nvSpPr>
        <dsp:cNvPr id="0" name=""/>
        <dsp:cNvSpPr/>
      </dsp:nvSpPr>
      <dsp:spPr>
        <a:xfrm>
          <a:off x="1499396" y="1119912"/>
          <a:ext cx="2480719" cy="2480719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E2ECDF-4E84-459D-8C63-3FA8F611797C}">
      <dsp:nvSpPr>
        <dsp:cNvPr id="0" name=""/>
        <dsp:cNvSpPr/>
      </dsp:nvSpPr>
      <dsp:spPr>
        <a:xfrm>
          <a:off x="2489866" y="-205558"/>
          <a:ext cx="2674715" cy="2674715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AF35B2-56CF-434B-9145-5213EC42692F}">
      <dsp:nvSpPr>
        <dsp:cNvPr id="0" name=""/>
        <dsp:cNvSpPr/>
      </dsp:nvSpPr>
      <dsp:spPr>
        <a:xfrm>
          <a:off x="3572449" y="2496628"/>
          <a:ext cx="91440" cy="29184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91844"/>
              </a:lnTo>
            </a:path>
          </a:pathLst>
        </a:custGeom>
        <a:noFill/>
        <a:ln w="63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10FAE3-8CAC-4638-893F-68600D167916}">
      <dsp:nvSpPr>
        <dsp:cNvPr id="0" name=""/>
        <dsp:cNvSpPr/>
      </dsp:nvSpPr>
      <dsp:spPr>
        <a:xfrm>
          <a:off x="3572449" y="1567576"/>
          <a:ext cx="91440" cy="29184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91844"/>
              </a:lnTo>
            </a:path>
          </a:pathLst>
        </a:custGeom>
        <a:noFill/>
        <a:ln w="63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A2CB2B-9A4D-49B1-B678-80CC6738D0D8}">
      <dsp:nvSpPr>
        <dsp:cNvPr id="0" name=""/>
        <dsp:cNvSpPr/>
      </dsp:nvSpPr>
      <dsp:spPr>
        <a:xfrm>
          <a:off x="2391697" y="638524"/>
          <a:ext cx="1226471" cy="2918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8883"/>
              </a:lnTo>
              <a:lnTo>
                <a:pt x="1226471" y="198883"/>
              </a:lnTo>
              <a:lnTo>
                <a:pt x="1226471" y="291844"/>
              </a:lnTo>
            </a:path>
          </a:pathLst>
        </a:custGeom>
        <a:noFill/>
        <a:ln w="63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8A3973-5388-484E-A7A1-27B784791249}">
      <dsp:nvSpPr>
        <dsp:cNvPr id="0" name=""/>
        <dsp:cNvSpPr/>
      </dsp:nvSpPr>
      <dsp:spPr>
        <a:xfrm>
          <a:off x="2345977" y="638524"/>
          <a:ext cx="91440" cy="29184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91844"/>
              </a:lnTo>
            </a:path>
          </a:pathLst>
        </a:custGeom>
        <a:noFill/>
        <a:ln w="63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551BAC-098C-4F11-B96D-9ADBC977F48A}">
      <dsp:nvSpPr>
        <dsp:cNvPr id="0" name=""/>
        <dsp:cNvSpPr/>
      </dsp:nvSpPr>
      <dsp:spPr>
        <a:xfrm>
          <a:off x="1119505" y="1567576"/>
          <a:ext cx="91440" cy="29184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91844"/>
              </a:lnTo>
            </a:path>
          </a:pathLst>
        </a:custGeom>
        <a:noFill/>
        <a:ln w="63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46BB36-132B-4745-A864-DE86989C01D2}">
      <dsp:nvSpPr>
        <dsp:cNvPr id="0" name=""/>
        <dsp:cNvSpPr/>
      </dsp:nvSpPr>
      <dsp:spPr>
        <a:xfrm>
          <a:off x="1165225" y="638524"/>
          <a:ext cx="1226471" cy="291844"/>
        </a:xfrm>
        <a:custGeom>
          <a:avLst/>
          <a:gdLst/>
          <a:ahLst/>
          <a:cxnLst/>
          <a:rect l="0" t="0" r="0" b="0"/>
          <a:pathLst>
            <a:path>
              <a:moveTo>
                <a:pt x="1226471" y="0"/>
              </a:moveTo>
              <a:lnTo>
                <a:pt x="1226471" y="198883"/>
              </a:lnTo>
              <a:lnTo>
                <a:pt x="0" y="198883"/>
              </a:lnTo>
              <a:lnTo>
                <a:pt x="0" y="291844"/>
              </a:lnTo>
            </a:path>
          </a:pathLst>
        </a:custGeom>
        <a:noFill/>
        <a:ln w="63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B609A1-55FD-43FA-8777-7AD06E4C0586}">
      <dsp:nvSpPr>
        <dsp:cNvPr id="0" name=""/>
        <dsp:cNvSpPr/>
      </dsp:nvSpPr>
      <dsp:spPr>
        <a:xfrm>
          <a:off x="1889959" y="1316"/>
          <a:ext cx="1003476" cy="63720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D9F1A0E-5517-4D63-9B80-7D2FCC53C4C7}">
      <dsp:nvSpPr>
        <dsp:cNvPr id="0" name=""/>
        <dsp:cNvSpPr/>
      </dsp:nvSpPr>
      <dsp:spPr>
        <a:xfrm>
          <a:off x="2001456" y="107238"/>
          <a:ext cx="1003476" cy="6372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Disk Image</a:t>
          </a:r>
          <a:endParaRPr lang="de-DE" sz="1600" kern="1200" dirty="0"/>
        </a:p>
      </dsp:txBody>
      <dsp:txXfrm>
        <a:off x="2020119" y="125901"/>
        <a:ext cx="966150" cy="599881"/>
      </dsp:txXfrm>
    </dsp:sp>
    <dsp:sp modelId="{9859E584-5053-49C4-821B-01B9F1794B97}">
      <dsp:nvSpPr>
        <dsp:cNvPr id="0" name=""/>
        <dsp:cNvSpPr/>
      </dsp:nvSpPr>
      <dsp:spPr>
        <a:xfrm>
          <a:off x="663487" y="930368"/>
          <a:ext cx="1003476" cy="63720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A6D019F-B5D6-4C9C-80BA-89876F9F5628}">
      <dsp:nvSpPr>
        <dsp:cNvPr id="0" name=""/>
        <dsp:cNvSpPr/>
      </dsp:nvSpPr>
      <dsp:spPr>
        <a:xfrm>
          <a:off x="774984" y="1036291"/>
          <a:ext cx="1003476" cy="6372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Hash Contents</a:t>
          </a:r>
          <a:endParaRPr lang="de-DE" sz="1600" kern="1200" dirty="0"/>
        </a:p>
      </dsp:txBody>
      <dsp:txXfrm>
        <a:off x="793647" y="1054954"/>
        <a:ext cx="966150" cy="599881"/>
      </dsp:txXfrm>
    </dsp:sp>
    <dsp:sp modelId="{A6EA29BC-4151-498F-9800-A20434B42B41}">
      <dsp:nvSpPr>
        <dsp:cNvPr id="0" name=""/>
        <dsp:cNvSpPr/>
      </dsp:nvSpPr>
      <dsp:spPr>
        <a:xfrm>
          <a:off x="663487" y="1859420"/>
          <a:ext cx="1003476" cy="63720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4D93F22-C07C-41C7-B02C-9C1671B90569}">
      <dsp:nvSpPr>
        <dsp:cNvPr id="0" name=""/>
        <dsp:cNvSpPr/>
      </dsp:nvSpPr>
      <dsp:spPr>
        <a:xfrm>
          <a:off x="774984" y="1965343"/>
          <a:ext cx="1003476" cy="6372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Check </a:t>
          </a:r>
          <a:r>
            <a:rPr lang="en-GB" sz="1600" kern="1200" dirty="0" err="1"/>
            <a:t>IoCs</a:t>
          </a:r>
          <a:endParaRPr lang="de-DE" sz="1600" kern="1200" dirty="0"/>
        </a:p>
      </dsp:txBody>
      <dsp:txXfrm>
        <a:off x="793647" y="1984006"/>
        <a:ext cx="966150" cy="599881"/>
      </dsp:txXfrm>
    </dsp:sp>
    <dsp:sp modelId="{3D7AAF04-6A93-43C9-B0D2-65847C044F87}">
      <dsp:nvSpPr>
        <dsp:cNvPr id="0" name=""/>
        <dsp:cNvSpPr/>
      </dsp:nvSpPr>
      <dsp:spPr>
        <a:xfrm>
          <a:off x="1889959" y="930368"/>
          <a:ext cx="1003476" cy="63720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C2E8559-9410-43F5-AA72-E751805AD455}">
      <dsp:nvSpPr>
        <dsp:cNvPr id="0" name=""/>
        <dsp:cNvSpPr/>
      </dsp:nvSpPr>
      <dsp:spPr>
        <a:xfrm>
          <a:off x="2001456" y="1036291"/>
          <a:ext cx="1003476" cy="6372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Run </a:t>
          </a:r>
          <a:r>
            <a:rPr lang="en-GB" sz="1600" kern="1200" dirty="0" err="1"/>
            <a:t>yara</a:t>
          </a:r>
          <a:endParaRPr lang="de-DE" sz="1600" kern="1200" dirty="0"/>
        </a:p>
      </dsp:txBody>
      <dsp:txXfrm>
        <a:off x="2020119" y="1054954"/>
        <a:ext cx="966150" cy="599881"/>
      </dsp:txXfrm>
    </dsp:sp>
    <dsp:sp modelId="{AE1144CD-BFDF-4DBC-B334-4C214DE9CB6C}">
      <dsp:nvSpPr>
        <dsp:cNvPr id="0" name=""/>
        <dsp:cNvSpPr/>
      </dsp:nvSpPr>
      <dsp:spPr>
        <a:xfrm>
          <a:off x="3116431" y="930368"/>
          <a:ext cx="1003476" cy="63720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A9E3482-9B98-4594-BB52-654DAFB76E96}">
      <dsp:nvSpPr>
        <dsp:cNvPr id="0" name=""/>
        <dsp:cNvSpPr/>
      </dsp:nvSpPr>
      <dsp:spPr>
        <a:xfrm>
          <a:off x="3227928" y="1036291"/>
          <a:ext cx="1003476" cy="6372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Extract artifacts</a:t>
          </a:r>
          <a:endParaRPr lang="de-DE" sz="1600" kern="1200" dirty="0"/>
        </a:p>
      </dsp:txBody>
      <dsp:txXfrm>
        <a:off x="3246591" y="1054954"/>
        <a:ext cx="966150" cy="599881"/>
      </dsp:txXfrm>
    </dsp:sp>
    <dsp:sp modelId="{A6E7BB46-5F9E-43E0-9978-40C06EBE4EFE}">
      <dsp:nvSpPr>
        <dsp:cNvPr id="0" name=""/>
        <dsp:cNvSpPr/>
      </dsp:nvSpPr>
      <dsp:spPr>
        <a:xfrm>
          <a:off x="3116431" y="1859420"/>
          <a:ext cx="1003476" cy="63720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CE57A41-9281-4277-9B8E-69C6218A68E3}">
      <dsp:nvSpPr>
        <dsp:cNvPr id="0" name=""/>
        <dsp:cNvSpPr/>
      </dsp:nvSpPr>
      <dsp:spPr>
        <a:xfrm>
          <a:off x="3227928" y="1965343"/>
          <a:ext cx="1003476" cy="6372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Parse artifacts</a:t>
          </a:r>
          <a:endParaRPr lang="de-DE" sz="1600" kern="1200" dirty="0"/>
        </a:p>
      </dsp:txBody>
      <dsp:txXfrm>
        <a:off x="3246591" y="1984006"/>
        <a:ext cx="966150" cy="599881"/>
      </dsp:txXfrm>
    </dsp:sp>
    <dsp:sp modelId="{B5FC0489-1260-4929-8DFD-27072B14C28C}">
      <dsp:nvSpPr>
        <dsp:cNvPr id="0" name=""/>
        <dsp:cNvSpPr/>
      </dsp:nvSpPr>
      <dsp:spPr>
        <a:xfrm>
          <a:off x="3116431" y="2788473"/>
          <a:ext cx="1003476" cy="63720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683CA2E-70A3-4B89-84E4-E2175B2C0231}">
      <dsp:nvSpPr>
        <dsp:cNvPr id="0" name=""/>
        <dsp:cNvSpPr/>
      </dsp:nvSpPr>
      <dsp:spPr>
        <a:xfrm>
          <a:off x="3227928" y="2894395"/>
          <a:ext cx="1003476" cy="6372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Check </a:t>
          </a:r>
          <a:r>
            <a:rPr lang="en-GB" sz="1600" kern="1200" dirty="0" err="1"/>
            <a:t>IoCs</a:t>
          </a:r>
          <a:endParaRPr lang="de-DE" sz="1600" kern="1200" dirty="0"/>
        </a:p>
      </dsp:txBody>
      <dsp:txXfrm>
        <a:off x="3246591" y="2913058"/>
        <a:ext cx="966150" cy="5998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>
                <a:solidFill>
                  <a:schemeClr val="tx2"/>
                </a:solidFill>
                <a:latin typeface="+mn-lt"/>
              </a:rPr>
              <a:t>10/6/2023</a:t>
            </a:fld>
            <a:endParaRPr lang="en-US" sz="105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 dirty="0">
                <a:solidFill>
                  <a:schemeClr val="accent2"/>
                </a:solidFill>
                <a:latin typeface="+mn-lt"/>
              </a:rPr>
              <a:t>Hand out</a:t>
            </a:r>
            <a:r>
              <a:rPr lang="en-US" sz="1050" dirty="0">
                <a:solidFill>
                  <a:schemeClr val="accent2"/>
                </a:solidFill>
                <a:latin typeface="+mn-lt"/>
              </a:rPr>
              <a:t> </a:t>
            </a:r>
            <a:fld id="{C92BABF8-1341-4DCB-864A-D83C08BEEAE4}" type="slidenum">
              <a:rPr lang="en-US" sz="1050" smtClean="0">
                <a:solidFill>
                  <a:schemeClr val="tx2"/>
                </a:solidFill>
                <a:latin typeface="+mn-lt"/>
              </a:rPr>
              <a:t>‹Nr.›</a:t>
            </a:fld>
            <a:endParaRPr lang="en-US" sz="105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76FBC1AF-E4C9-412F-9B6D-66CD520F95DB}" type="datetimeFigureOut">
              <a:rPr lang="en-US" smtClean="0"/>
              <a:pPr/>
              <a:t>10/6/2023</a:t>
            </a:fld>
            <a:endParaRPr lang="en-US" dirty="0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‹Nr.›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662922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792413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8740176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116023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7132854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502166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22370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093362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4779771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3220784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4960269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223687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666566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804166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358240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67889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9087869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280640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76341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191606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945772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246279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4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04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 dirty="0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383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15136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3635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007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819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9208743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 dirty="0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de-DE"/>
              <a:t>Tabelle durch Klicken auf Symbol hinzufügen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291605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Skills etc.</a:t>
            </a:r>
          </a:p>
          <a:p>
            <a:pPr lvl="3"/>
            <a:r>
              <a:rPr lang="en-US" dirty="0"/>
              <a:t>Name etc. sublevel</a:t>
            </a:r>
          </a:p>
          <a:p>
            <a:pPr lvl="4"/>
            <a:r>
              <a:rPr lang="en-US" dirty="0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15397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361385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71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76" r:id="rId4"/>
    <p:sldLayoutId id="2147483777" r:id="rId5"/>
    <p:sldLayoutId id="2147483778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73" r:id="rId13"/>
    <p:sldLayoutId id="2147483774" r:id="rId14"/>
    <p:sldLayoutId id="2147483775" r:id="rId15"/>
    <p:sldLayoutId id="2147483781" r:id="rId16"/>
    <p:sldLayoutId id="2147483782" r:id="rId17"/>
    <p:sldLayoutId id="2147483783" r:id="rId18"/>
    <p:sldLayoutId id="2147483790" r:id="rId19"/>
    <p:sldLayoutId id="2147483791" r:id="rId20"/>
    <p:sldLayoutId id="2147483792" r:id="rId21"/>
    <p:sldLayoutId id="2147483770" r:id="rId22"/>
    <p:sldLayoutId id="2147483771" r:id="rId23"/>
    <p:sldLayoutId id="2147483772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24" r:id="rId31"/>
    <p:sldLayoutId id="2147483725" r:id="rId32"/>
    <p:sldLayoutId id="2147483726" r:id="rId33"/>
    <p:sldLayoutId id="2147483730" r:id="rId34"/>
    <p:sldLayoutId id="2147483731" r:id="rId35"/>
    <p:sldLayoutId id="2147483732" r:id="rId36"/>
    <p:sldLayoutId id="2147483727" r:id="rId37"/>
    <p:sldLayoutId id="2147483728" r:id="rId38"/>
    <p:sldLayoutId id="2147483729" r:id="rId39"/>
    <p:sldLayoutId id="2147483736" r:id="rId40"/>
    <p:sldLayoutId id="2147483737" r:id="rId41"/>
    <p:sldLayoutId id="2147483738" r:id="rId42"/>
    <p:sldLayoutId id="2147483753" r:id="rId43"/>
    <p:sldLayoutId id="2147483754" r:id="rId44"/>
    <p:sldLayoutId id="2147483755" r:id="rId45"/>
    <p:sldLayoutId id="2147483739" r:id="rId46"/>
    <p:sldLayoutId id="2147483740" r:id="rId47"/>
    <p:sldLayoutId id="2147483741" r:id="rId48"/>
    <p:sldLayoutId id="2147483744" r:id="rId49"/>
    <p:sldLayoutId id="2147483756" r:id="rId50"/>
    <p:sldLayoutId id="2147483655" r:id="rId51"/>
    <p:sldLayoutId id="2147483677" r:id="rId52"/>
    <p:sldLayoutId id="2147483779" r:id="rId53"/>
    <p:sldLayoutId id="2147483709" r:id="rId54"/>
    <p:sldLayoutId id="2147483691" r:id="rId55"/>
    <p:sldLayoutId id="2147483692" r:id="rId56"/>
    <p:sldLayoutId id="2147483780" r:id="rId57"/>
    <p:sldLayoutId id="2147483650" r:id="rId58"/>
    <p:sldLayoutId id="2147483665" r:id="rId59"/>
    <p:sldLayoutId id="2147483666" r:id="rId60"/>
    <p:sldLayoutId id="2147483697" r:id="rId61"/>
    <p:sldLayoutId id="2147483698" r:id="rId62"/>
    <p:sldLayoutId id="2147483652" r:id="rId63"/>
    <p:sldLayoutId id="2147483694" r:id="rId64"/>
    <p:sldLayoutId id="2147483687" r:id="rId65"/>
    <p:sldLayoutId id="2147483690" r:id="rId66"/>
    <p:sldLayoutId id="2147483681" r:id="rId67"/>
    <p:sldLayoutId id="2147483682" r:id="rId68"/>
    <p:sldLayoutId id="2147483711" r:id="rId69"/>
    <p:sldLayoutId id="2147483678" r:id="rId7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svg"/><Relationship Id="rId18" Type="http://schemas.openxmlformats.org/officeDocument/2006/relationships/image" Target="../media/image38.png"/><Relationship Id="rId26" Type="http://schemas.openxmlformats.org/officeDocument/2006/relationships/image" Target="../media/image46.png"/><Relationship Id="rId3" Type="http://schemas.openxmlformats.org/officeDocument/2006/relationships/tags" Target="../tags/tag91.xml"/><Relationship Id="rId21" Type="http://schemas.openxmlformats.org/officeDocument/2006/relationships/image" Target="../media/image41.svg"/><Relationship Id="rId7" Type="http://schemas.openxmlformats.org/officeDocument/2006/relationships/slideLayout" Target="../slideLayouts/slideLayout58.xml"/><Relationship Id="rId12" Type="http://schemas.openxmlformats.org/officeDocument/2006/relationships/image" Target="../media/image32.png"/><Relationship Id="rId17" Type="http://schemas.openxmlformats.org/officeDocument/2006/relationships/image" Target="../media/image37.svg"/><Relationship Id="rId25" Type="http://schemas.openxmlformats.org/officeDocument/2006/relationships/image" Target="../media/image45.svg"/><Relationship Id="rId2" Type="http://schemas.openxmlformats.org/officeDocument/2006/relationships/tags" Target="../tags/tag90.xml"/><Relationship Id="rId16" Type="http://schemas.openxmlformats.org/officeDocument/2006/relationships/image" Target="../media/image36.png"/><Relationship Id="rId20" Type="http://schemas.openxmlformats.org/officeDocument/2006/relationships/image" Target="../media/image40.png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image" Target="../media/image31.svg"/><Relationship Id="rId24" Type="http://schemas.openxmlformats.org/officeDocument/2006/relationships/image" Target="../media/image44.png"/><Relationship Id="rId5" Type="http://schemas.openxmlformats.org/officeDocument/2006/relationships/tags" Target="../tags/tag93.xml"/><Relationship Id="rId15" Type="http://schemas.openxmlformats.org/officeDocument/2006/relationships/image" Target="../media/image35.svg"/><Relationship Id="rId23" Type="http://schemas.openxmlformats.org/officeDocument/2006/relationships/image" Target="../media/image43.svg"/><Relationship Id="rId10" Type="http://schemas.openxmlformats.org/officeDocument/2006/relationships/image" Target="../media/image30.png"/><Relationship Id="rId19" Type="http://schemas.openxmlformats.org/officeDocument/2006/relationships/image" Target="../media/image39.svg"/><Relationship Id="rId4" Type="http://schemas.openxmlformats.org/officeDocument/2006/relationships/tags" Target="../tags/tag92.xml"/><Relationship Id="rId9" Type="http://schemas.openxmlformats.org/officeDocument/2006/relationships/image" Target="../media/image29.svg"/><Relationship Id="rId14" Type="http://schemas.openxmlformats.org/officeDocument/2006/relationships/image" Target="../media/image34.png"/><Relationship Id="rId22" Type="http://schemas.openxmlformats.org/officeDocument/2006/relationships/image" Target="../media/image42.png"/><Relationship Id="rId27" Type="http://schemas.openxmlformats.org/officeDocument/2006/relationships/image" Target="../media/image47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4" Type="http://schemas.openxmlformats.org/officeDocument/2006/relationships/image" Target="../media/image5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4" Type="http://schemas.openxmlformats.org/officeDocument/2006/relationships/image" Target="../media/image5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99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13" Type="http://schemas.openxmlformats.org/officeDocument/2006/relationships/slide" Target="slide39.xml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slide" Target="slide27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19.png"/><Relationship Id="rId11" Type="http://schemas.openxmlformats.org/officeDocument/2006/relationships/slide" Target="slide20.xml"/><Relationship Id="rId5" Type="http://schemas.openxmlformats.org/officeDocument/2006/relationships/image" Target="../media/image18.png"/><Relationship Id="rId10" Type="http://schemas.openxmlformats.org/officeDocument/2006/relationships/slide" Target="slide15.xml"/><Relationship Id="rId4" Type="http://schemas.openxmlformats.org/officeDocument/2006/relationships/image" Target="../media/image17.png"/><Relationship Id="rId9" Type="http://schemas.openxmlformats.org/officeDocument/2006/relationships/slide" Target="slide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5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00.xml"/><Relationship Id="rId6" Type="http://schemas.openxmlformats.org/officeDocument/2006/relationships/image" Target="../media/image65.svg"/><Relationship Id="rId5" Type="http://schemas.openxmlformats.org/officeDocument/2006/relationships/image" Target="../media/image64.png"/><Relationship Id="rId4" Type="http://schemas.openxmlformats.org/officeDocument/2006/relationships/image" Target="../media/image63.sv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0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5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sv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4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5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5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5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5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5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5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5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5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5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5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sv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5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mailto:cert@siemens.com" TargetMode="External"/><Relationship Id="rId2" Type="http://schemas.openxmlformats.org/officeDocument/2006/relationships/hyperlink" Target="mailto:demian.kellermann@siemens.com" TargetMode="External"/><Relationship Id="rId1" Type="http://schemas.openxmlformats.org/officeDocument/2006/relationships/slideLayout" Target="../slideLayouts/slideLayout70.xml"/><Relationship Id="rId4" Type="http://schemas.openxmlformats.org/officeDocument/2006/relationships/hyperlink" Target="https://siemens.com/cert" TargetMode="Externa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image" Target="../media/image22.sv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2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58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slideLayout" Target="../slideLayouts/slideLayout58.xml"/><Relationship Id="rId3" Type="http://schemas.openxmlformats.org/officeDocument/2006/relationships/tags" Target="../tags/tag21.xml"/><Relationship Id="rId21" Type="http://schemas.openxmlformats.org/officeDocument/2006/relationships/tags" Target="../tags/tag39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image" Target="../media/image23.png"/><Relationship Id="rId3" Type="http://schemas.openxmlformats.org/officeDocument/2006/relationships/tags" Target="../tags/tag46.xml"/><Relationship Id="rId21" Type="http://schemas.openxmlformats.org/officeDocument/2006/relationships/tags" Target="../tags/tag64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slideLayout" Target="../slideLayouts/slideLayout58.xml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image" Target="../media/image25.png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image" Target="../media/image24.png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slideLayout" Target="../slideLayouts/slideLayout58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tags" Target="../tags/tag86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tags" Target="../tags/tag85.xml"/><Relationship Id="rId2" Type="http://schemas.openxmlformats.org/officeDocument/2006/relationships/tags" Target="../tags/tag75.xml"/><Relationship Id="rId16" Type="http://schemas.openxmlformats.org/officeDocument/2006/relationships/slideLayout" Target="../slideLayouts/slideLayout58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tags" Target="../tags/tag84.xml"/><Relationship Id="rId5" Type="http://schemas.openxmlformats.org/officeDocument/2006/relationships/tags" Target="../tags/tag78.xml"/><Relationship Id="rId15" Type="http://schemas.openxmlformats.org/officeDocument/2006/relationships/tags" Target="../tags/tag88.xml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openxmlformats.org/officeDocument/2006/relationships/tags" Target="../tags/tag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Headline of the presentation">
            <a:extLst>
              <a:ext uri="{FF2B5EF4-FFF2-40B4-BE49-F238E27FC236}">
                <a16:creationId xmlns:a16="http://schemas.microsoft.com/office/drawing/2014/main" id="{DA865AB3-8AE0-4AB0-94C2-2E517EC147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1761447"/>
            <a:ext cx="11376788" cy="1231106"/>
          </a:xfrm>
        </p:spPr>
        <p:txBody>
          <a:bodyPr/>
          <a:lstStyle/>
          <a:p>
            <a:r>
              <a:rPr lang="en-US" b="1" noProof="0" dirty="0">
                <a:solidFill>
                  <a:srgbClr val="00C1B6"/>
                </a:solidFill>
              </a:rPr>
              <a:t>SiERRA</a:t>
            </a:r>
            <a:endParaRPr lang="en-US" noProof="0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14414CC-0D3D-4B70-91D9-2F124E04E6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1162" y="3870621"/>
            <a:ext cx="9286875" cy="1930398"/>
          </a:xfrm>
        </p:spPr>
        <p:txBody>
          <a:bodyPr/>
          <a:lstStyle/>
          <a:p>
            <a:r>
              <a:rPr lang="en-US" dirty="0"/>
              <a:t>Automating and scaling forensic investigations at Siemens CERT</a:t>
            </a:r>
          </a:p>
          <a:p>
            <a:r>
              <a:rPr lang="en-US" dirty="0"/>
              <a:t> </a:t>
            </a:r>
            <a:endParaRPr lang="de-DE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FDA17C2-CC0D-4A70-A1C4-4DAA44F6477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pic>
        <p:nvPicPr>
          <p:cNvPr id="3" name="Main shape &quot;Combining the real and the digital&quot;">
            <a:extLst>
              <a:ext uri="{FF2B5EF4-FFF2-40B4-BE49-F238E27FC236}">
                <a16:creationId xmlns:a16="http://schemas.microsoft.com/office/drawing/2014/main" id="{2165EB9D-4CFC-60B1-F3B3-23E4FA280A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8" r="17036" b="-8"/>
          <a:stretch/>
        </p:blipFill>
        <p:spPr bwMode="ltGray">
          <a:xfrm>
            <a:off x="6095999" y="500125"/>
            <a:ext cx="6096001" cy="3644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2057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136"/>
    </mc:Choice>
    <mc:Fallback>
      <p:transition spd="slow" advTm="14136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lockchain Silhouette">
            <a:extLst>
              <a:ext uri="{FF2B5EF4-FFF2-40B4-BE49-F238E27FC236}">
                <a16:creationId xmlns:a16="http://schemas.microsoft.com/office/drawing/2014/main" id="{A3A35100-42D8-D3E2-ECCF-3CEEAED371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79501" y="1319408"/>
            <a:ext cx="4219183" cy="4219183"/>
          </a:xfrm>
          <a:prstGeom prst="rect">
            <a:avLst/>
          </a:prstGeom>
        </p:spPr>
      </p:pic>
      <p:sp>
        <p:nvSpPr>
          <p:cNvPr id="5" name="Title" descr="Title of the chapter">
            <a:extLst>
              <a:ext uri="{FF2B5EF4-FFF2-40B4-BE49-F238E27FC236}">
                <a16:creationId xmlns:a16="http://schemas.microsoft.com/office/drawing/2014/main" id="{F640B5D6-DA30-4A72-90BF-4686C1ACCA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3" y="2337991"/>
            <a:ext cx="11376025" cy="1846659"/>
          </a:xfrm>
        </p:spPr>
        <p:txBody>
          <a:bodyPr/>
          <a:lstStyle/>
          <a:p>
            <a:r>
              <a:rPr lang="en-US" noProof="0" dirty="0"/>
              <a:t>SiERRA </a:t>
            </a:r>
            <a:br>
              <a:rPr lang="en-US" noProof="0" dirty="0"/>
            </a:br>
            <a:r>
              <a:rPr lang="en-US" b="1" noProof="0" dirty="0"/>
              <a:t>Architecture Overview</a:t>
            </a:r>
            <a:endParaRPr lang="en-US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219E2082-A671-48FA-BA58-21BFEF63DF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ACCFE235-7738-4971-A010-875207DA8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4067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359"/>
    </mc:Choice>
    <mc:Fallback>
      <p:transition spd="slow" advTm="2359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nsics automation: Building block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1</a:t>
            </a:fld>
            <a:endParaRPr lang="en-US" dirty="0"/>
          </a:p>
        </p:txBody>
      </p:sp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67020D5A-F7D0-8C74-10E9-C274A130415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9533879"/>
              </p:ext>
            </p:extLst>
          </p:nvPr>
        </p:nvGraphicFramePr>
        <p:xfrm>
          <a:off x="2458581" y="1257854"/>
          <a:ext cx="7274838" cy="48498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375339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2494"/>
    </mc:Choice>
    <mc:Fallback>
      <p:transition spd="slow" advTm="82494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nsics automation: Building block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67020D5A-F7D0-8C74-10E9-C274A130415E}"/>
              </a:ext>
            </a:extLst>
          </p:cNvPr>
          <p:cNvGraphicFramePr/>
          <p:nvPr/>
        </p:nvGraphicFramePr>
        <p:xfrm>
          <a:off x="2458581" y="1257854"/>
          <a:ext cx="7274838" cy="48498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FB0F1411-FC0B-9DA6-2384-5625E0465CA0}"/>
              </a:ext>
            </a:extLst>
          </p:cNvPr>
          <p:cNvSpPr txBox="1"/>
          <p:nvPr/>
        </p:nvSpPr>
        <p:spPr>
          <a:xfrm rot="16200000">
            <a:off x="607512" y="3244612"/>
            <a:ext cx="463748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6000" dirty="0">
                <a:solidFill>
                  <a:srgbClr val="009999"/>
                </a:solidFill>
              </a:rPr>
              <a:t>SiERRA</a:t>
            </a:r>
            <a:endParaRPr lang="de-DE" sz="6000" dirty="0" err="1">
              <a:solidFill>
                <a:srgbClr val="009999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F453E58-47D2-1DAF-4C79-46EA219DFF1D}"/>
              </a:ext>
            </a:extLst>
          </p:cNvPr>
          <p:cNvSpPr txBox="1"/>
          <p:nvPr/>
        </p:nvSpPr>
        <p:spPr>
          <a:xfrm>
            <a:off x="3633787" y="944166"/>
            <a:ext cx="492442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b="1" dirty="0">
                <a:solidFill>
                  <a:schemeClr val="tx1"/>
                </a:solidFill>
              </a:rPr>
              <a:t>Si</a:t>
            </a:r>
            <a:r>
              <a:rPr lang="en-GB" dirty="0">
                <a:solidFill>
                  <a:schemeClr val="tx1"/>
                </a:solidFill>
              </a:rPr>
              <a:t>emens </a:t>
            </a:r>
            <a:r>
              <a:rPr lang="en-GB" b="1" dirty="0">
                <a:solidFill>
                  <a:schemeClr val="tx1"/>
                </a:solidFill>
              </a:rPr>
              <a:t>E</a:t>
            </a:r>
            <a:r>
              <a:rPr lang="en-GB" dirty="0">
                <a:solidFill>
                  <a:schemeClr val="tx1"/>
                </a:solidFill>
              </a:rPr>
              <a:t>xtensible </a:t>
            </a:r>
            <a:r>
              <a:rPr lang="en-GB" b="1" dirty="0">
                <a:solidFill>
                  <a:schemeClr val="tx1"/>
                </a:solidFill>
              </a:rPr>
              <a:t>R</a:t>
            </a:r>
            <a:r>
              <a:rPr lang="en-GB" dirty="0">
                <a:solidFill>
                  <a:schemeClr val="tx1"/>
                </a:solidFill>
              </a:rPr>
              <a:t>apid </a:t>
            </a:r>
            <a:r>
              <a:rPr lang="en-GB" b="1" dirty="0">
                <a:solidFill>
                  <a:schemeClr val="tx1"/>
                </a:solidFill>
              </a:rPr>
              <a:t>R</a:t>
            </a:r>
            <a:r>
              <a:rPr lang="en-GB" dirty="0">
                <a:solidFill>
                  <a:schemeClr val="tx1"/>
                </a:solidFill>
              </a:rPr>
              <a:t>esponse </a:t>
            </a:r>
            <a:r>
              <a:rPr lang="en-GB" b="1" dirty="0">
                <a:solidFill>
                  <a:schemeClr val="tx1"/>
                </a:solidFill>
              </a:rPr>
              <a:t>A</a:t>
            </a:r>
            <a:r>
              <a:rPr lang="en-GB" dirty="0">
                <a:solidFill>
                  <a:schemeClr val="tx1"/>
                </a:solidFill>
              </a:rPr>
              <a:t>utomator</a:t>
            </a:r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1509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6038"/>
    </mc:Choice>
    <mc:Fallback>
      <p:transition spd="slow" advTm="16038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ERRA: Architecture and Nomenclature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A9C2B79-DDBD-077A-9EF4-22C9800B4DF6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410400" y="1054800"/>
            <a:ext cx="4925688" cy="4212395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lIns="72000" tIns="180000" rIns="36000" bIns="180000" anchor="t">
            <a:no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32A0A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          Case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ncapsulates everything needed for the investigation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72DE90BD-D1CF-5B36-1B90-DBF738EE4A8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74282" y="1824624"/>
            <a:ext cx="4597923" cy="2189968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lIns="72000" tIns="180000" rIns="36000" bIns="180000" anchor="t">
            <a:no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32A0A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        Evidence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Files and pieces of information, imported or generated by tools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vidence forms a tree-like hierarchy based on origin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endParaRPr lang="en-US" sz="12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9" name="Grafik 8" descr="USB-Stick mit einfarbiger Füllung">
            <a:extLst>
              <a:ext uri="{FF2B5EF4-FFF2-40B4-BE49-F238E27FC236}">
                <a16:creationId xmlns:a16="http://schemas.microsoft.com/office/drawing/2014/main" id="{98FB5780-6248-6A92-80B4-C5975E02B2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0998" y="3097711"/>
            <a:ext cx="506593" cy="506593"/>
          </a:xfrm>
          <a:prstGeom prst="rect">
            <a:avLst/>
          </a:prstGeom>
        </p:spPr>
      </p:pic>
      <p:pic>
        <p:nvPicPr>
          <p:cNvPr id="11" name="Grafik 10" descr="Dokument mit einfarbiger Füllung">
            <a:extLst>
              <a:ext uri="{FF2B5EF4-FFF2-40B4-BE49-F238E27FC236}">
                <a16:creationId xmlns:a16="http://schemas.microsoft.com/office/drawing/2014/main" id="{D4E68CD8-A9E7-7D44-4BA8-CB3F5BBBEF2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091234" y="2844414"/>
            <a:ext cx="506593" cy="506593"/>
          </a:xfrm>
          <a:prstGeom prst="rect">
            <a:avLst/>
          </a:prstGeom>
        </p:spPr>
      </p:pic>
      <p:pic>
        <p:nvPicPr>
          <p:cNvPr id="13" name="Grafik 12" descr="Papier mit einfarbiger Füllung">
            <a:extLst>
              <a:ext uri="{FF2B5EF4-FFF2-40B4-BE49-F238E27FC236}">
                <a16:creationId xmlns:a16="http://schemas.microsoft.com/office/drawing/2014/main" id="{B7CFCE90-8666-830D-1F41-76615C68596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091234" y="3429503"/>
            <a:ext cx="506593" cy="506593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93F6029B-01A3-965E-F49F-9B6EB89BD337}"/>
              </a:ext>
            </a:extLst>
          </p:cNvPr>
          <p:cNvSpPr txBox="1"/>
          <p:nvPr/>
        </p:nvSpPr>
        <p:spPr>
          <a:xfrm>
            <a:off x="1118997" y="3353866"/>
            <a:ext cx="85364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mage.dd</a:t>
            </a:r>
            <a:endParaRPr lang="de-DE" sz="1200" dirty="0" err="1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83E0E44-5724-4F0F-7DAB-169F40EAE6F6}"/>
              </a:ext>
            </a:extLst>
          </p:cNvPr>
          <p:cNvSpPr txBox="1"/>
          <p:nvPr/>
        </p:nvSpPr>
        <p:spPr>
          <a:xfrm>
            <a:off x="2537249" y="3166341"/>
            <a:ext cx="85364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MFT</a:t>
            </a:r>
            <a:endParaRPr lang="de-DE" sz="1200" dirty="0" err="1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512C8C1-F780-19FA-AF57-19C10EBBCF1B}"/>
              </a:ext>
            </a:extLst>
          </p:cNvPr>
          <p:cNvSpPr txBox="1"/>
          <p:nvPr/>
        </p:nvSpPr>
        <p:spPr>
          <a:xfrm>
            <a:off x="2537248" y="3742341"/>
            <a:ext cx="85364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AM</a:t>
            </a:r>
            <a:endParaRPr lang="de-DE" sz="1200" dirty="0" err="1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096" name="Grafik 4095" descr="Datenbank mit einfarbiger Füllung">
            <a:extLst>
              <a:ext uri="{FF2B5EF4-FFF2-40B4-BE49-F238E27FC236}">
                <a16:creationId xmlns:a16="http://schemas.microsoft.com/office/drawing/2014/main" id="{3D5FC6EC-120E-A79D-D4C8-E901A574DEF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451470" y="2835407"/>
            <a:ext cx="506594" cy="506594"/>
          </a:xfrm>
          <a:prstGeom prst="rect">
            <a:avLst/>
          </a:prstGeom>
        </p:spPr>
      </p:pic>
      <p:sp>
        <p:nvSpPr>
          <p:cNvPr id="4097" name="Textfeld 4096">
            <a:extLst>
              <a:ext uri="{FF2B5EF4-FFF2-40B4-BE49-F238E27FC236}">
                <a16:creationId xmlns:a16="http://schemas.microsoft.com/office/drawing/2014/main" id="{65F3427B-D227-C1E5-74C9-0F1623123AB8}"/>
              </a:ext>
            </a:extLst>
          </p:cNvPr>
          <p:cNvSpPr txBox="1"/>
          <p:nvPr/>
        </p:nvSpPr>
        <p:spPr>
          <a:xfrm>
            <a:off x="3922030" y="3166341"/>
            <a:ext cx="85364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200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File details</a:t>
            </a:r>
            <a:endParaRPr lang="de-DE" sz="1200" dirty="0" err="1">
              <a:solidFill>
                <a:schemeClr val="tx1"/>
              </a:solidFill>
              <a:latin typeface="+mj-lt"/>
              <a:cs typeface="Courier New" panose="02070309020205020404" pitchFamily="49" charset="0"/>
            </a:endParaRPr>
          </a:p>
        </p:txBody>
      </p:sp>
      <p:pic>
        <p:nvPicPr>
          <p:cNvPr id="4100" name="Grafik 4099" descr="Tabelle mit einfarbiger Füllung">
            <a:extLst>
              <a:ext uri="{FF2B5EF4-FFF2-40B4-BE49-F238E27FC236}">
                <a16:creationId xmlns:a16="http://schemas.microsoft.com/office/drawing/2014/main" id="{074E33AD-E8D8-7A6E-40D9-3378D026B75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451471" y="3425660"/>
            <a:ext cx="506593" cy="506593"/>
          </a:xfrm>
          <a:prstGeom prst="rect">
            <a:avLst/>
          </a:prstGeom>
        </p:spPr>
      </p:pic>
      <p:sp>
        <p:nvSpPr>
          <p:cNvPr id="4101" name="Textfeld 4100">
            <a:extLst>
              <a:ext uri="{FF2B5EF4-FFF2-40B4-BE49-F238E27FC236}">
                <a16:creationId xmlns:a16="http://schemas.microsoft.com/office/drawing/2014/main" id="{9F9ADBC1-CE54-D96B-262E-01F3D743F0F9}"/>
              </a:ext>
            </a:extLst>
          </p:cNvPr>
          <p:cNvSpPr txBox="1"/>
          <p:nvPr/>
        </p:nvSpPr>
        <p:spPr>
          <a:xfrm>
            <a:off x="3958065" y="3739001"/>
            <a:ext cx="85364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s.csv</a:t>
            </a:r>
            <a:endParaRPr lang="de-DE" sz="1200" dirty="0" err="1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105" name="Pfeil: nach rechts 4104">
            <a:extLst>
              <a:ext uri="{FF2B5EF4-FFF2-40B4-BE49-F238E27FC236}">
                <a16:creationId xmlns:a16="http://schemas.microsoft.com/office/drawing/2014/main" id="{6B8858A6-B434-B016-F00C-3D681EA6F938}"/>
              </a:ext>
            </a:extLst>
          </p:cNvPr>
          <p:cNvSpPr/>
          <p:nvPr/>
        </p:nvSpPr>
        <p:spPr>
          <a:xfrm>
            <a:off x="2964069" y="3010475"/>
            <a:ext cx="378381" cy="18466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4107" name="Pfeil: nach rechts 4106">
            <a:extLst>
              <a:ext uri="{FF2B5EF4-FFF2-40B4-BE49-F238E27FC236}">
                <a16:creationId xmlns:a16="http://schemas.microsoft.com/office/drawing/2014/main" id="{C1EC29F4-49F8-C065-5567-3208B3F3ACB3}"/>
              </a:ext>
            </a:extLst>
          </p:cNvPr>
          <p:cNvSpPr/>
          <p:nvPr/>
        </p:nvSpPr>
        <p:spPr>
          <a:xfrm>
            <a:off x="2964069" y="3604304"/>
            <a:ext cx="378381" cy="18466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4109" name="Pfeil: nach rechts 4108">
            <a:extLst>
              <a:ext uri="{FF2B5EF4-FFF2-40B4-BE49-F238E27FC236}">
                <a16:creationId xmlns:a16="http://schemas.microsoft.com/office/drawing/2014/main" id="{933C6499-96DC-0ACC-EA70-1A544373525D}"/>
              </a:ext>
            </a:extLst>
          </p:cNvPr>
          <p:cNvSpPr/>
          <p:nvPr/>
        </p:nvSpPr>
        <p:spPr>
          <a:xfrm rot="20453659">
            <a:off x="1647560" y="3102808"/>
            <a:ext cx="378381" cy="18466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4111" name="Pfeil: nach rechts 4110">
            <a:extLst>
              <a:ext uri="{FF2B5EF4-FFF2-40B4-BE49-F238E27FC236}">
                <a16:creationId xmlns:a16="http://schemas.microsoft.com/office/drawing/2014/main" id="{4BB206AF-A547-F33E-E80B-42D0C8C15A60}"/>
              </a:ext>
            </a:extLst>
          </p:cNvPr>
          <p:cNvSpPr/>
          <p:nvPr/>
        </p:nvSpPr>
        <p:spPr>
          <a:xfrm rot="1192800">
            <a:off x="1647883" y="3587836"/>
            <a:ext cx="378381" cy="18466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4113" name="Rectangle 2">
            <a:extLst>
              <a:ext uri="{FF2B5EF4-FFF2-40B4-BE49-F238E27FC236}">
                <a16:creationId xmlns:a16="http://schemas.microsoft.com/office/drawing/2014/main" id="{3311CDEF-460A-087A-544C-0AB99C257D5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77993" y="4152629"/>
            <a:ext cx="4597923" cy="92757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lIns="72000" tIns="180000" rIns="36000" bIns="180000" anchor="t">
            <a:no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32A0A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        Finding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elevant bits of information from the case evidence, enriched with explanatory text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endParaRPr lang="en-US" sz="12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115" name="Rectangle 2">
            <a:extLst>
              <a:ext uri="{FF2B5EF4-FFF2-40B4-BE49-F238E27FC236}">
                <a16:creationId xmlns:a16="http://schemas.microsoft.com/office/drawing/2014/main" id="{281392EB-17A8-624E-C63D-C3455E4F286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835252" y="1068637"/>
            <a:ext cx="4925688" cy="1079577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lIns="72000" tIns="180000" rIns="36000" bIns="180000" anchor="t">
            <a:no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32A0A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Worker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nalysis tools that report to a central job broker and advertise their abilities and requirements (</a:t>
            </a:r>
            <a:r>
              <a:rPr lang="en-US" sz="1200" i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Vacancies</a:t>
            </a: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)</a:t>
            </a:r>
          </a:p>
        </p:txBody>
      </p:sp>
      <p:sp>
        <p:nvSpPr>
          <p:cNvPr id="4117" name="Rectangle 2">
            <a:extLst>
              <a:ext uri="{FF2B5EF4-FFF2-40B4-BE49-F238E27FC236}">
                <a16:creationId xmlns:a16="http://schemas.microsoft.com/office/drawing/2014/main" id="{A0BB4768-225C-0766-2CDC-789D07782D1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835252" y="2346083"/>
            <a:ext cx="4925688" cy="1079577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lIns="72000" tIns="180000" rIns="36000" bIns="180000" anchor="t">
            <a:no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32A0A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Job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 request for a certain worker to start processing in a case with defined input parameters. Also tracks job status.</a:t>
            </a:r>
          </a:p>
        </p:txBody>
      </p:sp>
      <p:pic>
        <p:nvPicPr>
          <p:cNvPr id="8" name="Grafik 7" descr="Ordnersuche mit einfarbiger Füllung">
            <a:extLst>
              <a:ext uri="{FF2B5EF4-FFF2-40B4-BE49-F238E27FC236}">
                <a16:creationId xmlns:a16="http://schemas.microsoft.com/office/drawing/2014/main" id="{CA01F115-7049-0D0C-46BC-B47934454D0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31060" y="1037710"/>
            <a:ext cx="545041" cy="545041"/>
          </a:xfrm>
          <a:prstGeom prst="rect">
            <a:avLst/>
          </a:prstGeom>
        </p:spPr>
      </p:pic>
      <p:pic>
        <p:nvPicPr>
          <p:cNvPr id="18" name="Grafik 17" descr="Lupe mit einfarbiger Füllung">
            <a:extLst>
              <a:ext uri="{FF2B5EF4-FFF2-40B4-BE49-F238E27FC236}">
                <a16:creationId xmlns:a16="http://schemas.microsoft.com/office/drawing/2014/main" id="{8C62F4B3-E5BA-1670-EB0E-F24EFB28970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66580" y="4135540"/>
            <a:ext cx="545040" cy="545040"/>
          </a:xfrm>
          <a:prstGeom prst="rect">
            <a:avLst/>
          </a:prstGeom>
        </p:spPr>
      </p:pic>
      <p:pic>
        <p:nvPicPr>
          <p:cNvPr id="20" name="Grafik 19" descr="Bezeichnung mit einfarbiger Füllung">
            <a:extLst>
              <a:ext uri="{FF2B5EF4-FFF2-40B4-BE49-F238E27FC236}">
                <a16:creationId xmlns:a16="http://schemas.microsoft.com/office/drawing/2014/main" id="{CE155BF9-0AAE-6A69-6313-6354C6A06C7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59204" y="1774382"/>
            <a:ext cx="559793" cy="559793"/>
          </a:xfrm>
          <a:prstGeom prst="rect">
            <a:avLst/>
          </a:prstGeom>
        </p:spPr>
      </p:pic>
      <p:pic>
        <p:nvPicPr>
          <p:cNvPr id="22" name="Grafik 21" descr="Roboter mit einfarbiger Füllung">
            <a:extLst>
              <a:ext uri="{FF2B5EF4-FFF2-40B4-BE49-F238E27FC236}">
                <a16:creationId xmlns:a16="http://schemas.microsoft.com/office/drawing/2014/main" id="{4A6CA1DC-6C1E-D2E1-87E7-58C3A9270E6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1294093" y="1072963"/>
            <a:ext cx="545041" cy="545041"/>
          </a:xfrm>
          <a:prstGeom prst="rect">
            <a:avLst/>
          </a:prstGeom>
        </p:spPr>
      </p:pic>
      <p:pic>
        <p:nvPicPr>
          <p:cNvPr id="26" name="Grafik 25" descr="Posteingang mit einfarbiger Füllung">
            <a:extLst>
              <a:ext uri="{FF2B5EF4-FFF2-40B4-BE49-F238E27FC236}">
                <a16:creationId xmlns:a16="http://schemas.microsoft.com/office/drawing/2014/main" id="{D70B3F7A-B9F1-C903-BAE1-B50CD0D9C94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1236559" y="2313723"/>
            <a:ext cx="545041" cy="5450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924135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88752"/>
    </mc:Choice>
    <mc:Fallback>
      <p:transition spd="slow" advTm="18875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15" grpId="0" animBg="1"/>
      <p:bldP spid="41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ERRA: Tech Stack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8" name="Rectangle 48">
            <a:extLst>
              <a:ext uri="{FF2B5EF4-FFF2-40B4-BE49-F238E27FC236}">
                <a16:creationId xmlns:a16="http://schemas.microsoft.com/office/drawing/2014/main" id="{997CB86F-0B5A-37F4-3D7A-AF6CE5D3A745}"/>
              </a:ext>
            </a:extLst>
          </p:cNvPr>
          <p:cNvSpPr/>
          <p:nvPr/>
        </p:nvSpPr>
        <p:spPr bwMode="auto">
          <a:xfrm>
            <a:off x="1857974" y="1522800"/>
            <a:ext cx="6983209" cy="4320000"/>
          </a:xfrm>
          <a:prstGeom prst="rect">
            <a:avLst/>
          </a:prstGeom>
          <a:noFill/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4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" name="Rectangle 88">
            <a:extLst>
              <a:ext uri="{FF2B5EF4-FFF2-40B4-BE49-F238E27FC236}">
                <a16:creationId xmlns:a16="http://schemas.microsoft.com/office/drawing/2014/main" id="{19FBD366-0C39-7F4B-DBE8-8732E07E8477}"/>
              </a:ext>
            </a:extLst>
          </p:cNvPr>
          <p:cNvSpPr/>
          <p:nvPr/>
        </p:nvSpPr>
        <p:spPr bwMode="auto">
          <a:xfrm>
            <a:off x="1857974" y="5036322"/>
            <a:ext cx="6984000" cy="79287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4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0" name="TextBox 10">
            <a:extLst>
              <a:ext uri="{FF2B5EF4-FFF2-40B4-BE49-F238E27FC236}">
                <a16:creationId xmlns:a16="http://schemas.microsoft.com/office/drawing/2014/main" id="{04C74311-A189-79D8-F7FF-E7B09FE1F0B4}"/>
              </a:ext>
            </a:extLst>
          </p:cNvPr>
          <p:cNvSpPr txBox="1"/>
          <p:nvPr/>
        </p:nvSpPr>
        <p:spPr>
          <a:xfrm>
            <a:off x="1857183" y="1522800"/>
            <a:ext cx="837853" cy="156133"/>
          </a:xfrm>
          <a:prstGeom prst="rect">
            <a:avLst/>
          </a:prstGeom>
          <a:noFill/>
        </p:spPr>
        <p:txBody>
          <a:bodyPr wrap="none" lIns="3600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i="1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er Interface</a:t>
            </a:r>
          </a:p>
        </p:txBody>
      </p:sp>
      <p:sp>
        <p:nvSpPr>
          <p:cNvPr id="21" name="TextBox 80">
            <a:extLst>
              <a:ext uri="{FF2B5EF4-FFF2-40B4-BE49-F238E27FC236}">
                <a16:creationId xmlns:a16="http://schemas.microsoft.com/office/drawing/2014/main" id="{84133078-9E8E-19DE-E25F-4FF0C0522B3C}"/>
              </a:ext>
            </a:extLst>
          </p:cNvPr>
          <p:cNvSpPr txBox="1"/>
          <p:nvPr/>
        </p:nvSpPr>
        <p:spPr>
          <a:xfrm>
            <a:off x="1857183" y="2315675"/>
            <a:ext cx="595800" cy="156133"/>
          </a:xfrm>
          <a:prstGeom prst="rect">
            <a:avLst/>
          </a:prstGeom>
          <a:noFill/>
        </p:spPr>
        <p:txBody>
          <a:bodyPr wrap="none" lIns="3600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i="1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PI Layer</a:t>
            </a:r>
          </a:p>
        </p:txBody>
      </p:sp>
      <p:sp>
        <p:nvSpPr>
          <p:cNvPr id="22" name="TextBox 81">
            <a:extLst>
              <a:ext uri="{FF2B5EF4-FFF2-40B4-BE49-F238E27FC236}">
                <a16:creationId xmlns:a16="http://schemas.microsoft.com/office/drawing/2014/main" id="{0CFE5CAA-2FCE-929D-0340-32EB817E7908}"/>
              </a:ext>
            </a:extLst>
          </p:cNvPr>
          <p:cNvSpPr txBox="1"/>
          <p:nvPr/>
        </p:nvSpPr>
        <p:spPr>
          <a:xfrm>
            <a:off x="1857183" y="3108550"/>
            <a:ext cx="514046" cy="156133"/>
          </a:xfrm>
          <a:prstGeom prst="rect">
            <a:avLst/>
          </a:prstGeom>
          <a:noFill/>
        </p:spPr>
        <p:txBody>
          <a:bodyPr wrap="none" lIns="3600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i="1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orkers</a:t>
            </a:r>
          </a:p>
        </p:txBody>
      </p:sp>
      <p:sp>
        <p:nvSpPr>
          <p:cNvPr id="23" name="TextBox 82">
            <a:extLst>
              <a:ext uri="{FF2B5EF4-FFF2-40B4-BE49-F238E27FC236}">
                <a16:creationId xmlns:a16="http://schemas.microsoft.com/office/drawing/2014/main" id="{35B0D31A-4249-D546-C49E-A705E17F687B}"/>
              </a:ext>
            </a:extLst>
          </p:cNvPr>
          <p:cNvSpPr txBox="1"/>
          <p:nvPr/>
        </p:nvSpPr>
        <p:spPr>
          <a:xfrm>
            <a:off x="1857183" y="5036322"/>
            <a:ext cx="305656" cy="156133"/>
          </a:xfrm>
          <a:prstGeom prst="rect">
            <a:avLst/>
          </a:prstGeom>
          <a:noFill/>
        </p:spPr>
        <p:txBody>
          <a:bodyPr wrap="none" lIns="3600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i="1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ata</a:t>
            </a: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E5FF7272-ADC9-04D8-EA28-C98EEC3483BD}"/>
              </a:ext>
            </a:extLst>
          </p:cNvPr>
          <p:cNvSpPr/>
          <p:nvPr/>
        </p:nvSpPr>
        <p:spPr bwMode="auto">
          <a:xfrm>
            <a:off x="1857183" y="2315675"/>
            <a:ext cx="6984000" cy="79287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4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5" name="Rectangle 87">
            <a:extLst>
              <a:ext uri="{FF2B5EF4-FFF2-40B4-BE49-F238E27FC236}">
                <a16:creationId xmlns:a16="http://schemas.microsoft.com/office/drawing/2014/main" id="{F6F5FA8F-B091-CD91-5B0D-30E52EAD3EEA}"/>
              </a:ext>
            </a:extLst>
          </p:cNvPr>
          <p:cNvSpPr/>
          <p:nvPr/>
        </p:nvSpPr>
        <p:spPr bwMode="auto">
          <a:xfrm>
            <a:off x="1857183" y="1522800"/>
            <a:ext cx="6984000" cy="79287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4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6" name="Rectangle 11">
            <a:extLst>
              <a:ext uri="{FF2B5EF4-FFF2-40B4-BE49-F238E27FC236}">
                <a16:creationId xmlns:a16="http://schemas.microsoft.com/office/drawing/2014/main" id="{FE580E0A-76CC-F432-A171-B441555D1154}"/>
              </a:ext>
            </a:extLst>
          </p:cNvPr>
          <p:cNvSpPr/>
          <p:nvPr/>
        </p:nvSpPr>
        <p:spPr bwMode="auto">
          <a:xfrm>
            <a:off x="1857974" y="3108550"/>
            <a:ext cx="6984000" cy="192777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4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27" name="Group 9">
            <a:extLst>
              <a:ext uri="{FF2B5EF4-FFF2-40B4-BE49-F238E27FC236}">
                <a16:creationId xmlns:a16="http://schemas.microsoft.com/office/drawing/2014/main" id="{8EF9CC22-78F8-BBFA-C962-5AF1A65ED634}"/>
              </a:ext>
            </a:extLst>
          </p:cNvPr>
          <p:cNvGrpSpPr/>
          <p:nvPr/>
        </p:nvGrpSpPr>
        <p:grpSpPr>
          <a:xfrm>
            <a:off x="2275964" y="3269575"/>
            <a:ext cx="6148021" cy="1605722"/>
            <a:chOff x="1044767" y="4535095"/>
            <a:chExt cx="6143833" cy="1605722"/>
          </a:xfrm>
          <a:solidFill>
            <a:srgbClr val="333353"/>
          </a:solidFill>
        </p:grpSpPr>
        <p:sp>
          <p:nvSpPr>
            <p:cNvPr id="28" name="Hexagon 2">
              <a:extLst>
                <a:ext uri="{FF2B5EF4-FFF2-40B4-BE49-F238E27FC236}">
                  <a16:creationId xmlns:a16="http://schemas.microsoft.com/office/drawing/2014/main" id="{D6C7FCE5-4C61-8EC1-4D79-C73586C9B57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4768" y="4535095"/>
              <a:ext cx="720000" cy="620689"/>
            </a:xfrm>
            <a:prstGeom prst="hexagon">
              <a:avLst/>
            </a:prstGeom>
            <a:grpFill/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0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.1</a:t>
              </a:r>
            </a:p>
          </p:txBody>
        </p:sp>
        <p:sp>
          <p:nvSpPr>
            <p:cNvPr id="29" name="Hexagon 44">
              <a:extLst>
                <a:ext uri="{FF2B5EF4-FFF2-40B4-BE49-F238E27FC236}">
                  <a16:creationId xmlns:a16="http://schemas.microsoft.com/office/drawing/2014/main" id="{9D609574-685C-E6EE-17B8-1773E84AE81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4767" y="5191783"/>
              <a:ext cx="720000" cy="620689"/>
            </a:xfrm>
            <a:prstGeom prst="hexagon">
              <a:avLst/>
            </a:prstGeom>
            <a:grpFill/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0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.2</a:t>
              </a:r>
            </a:p>
          </p:txBody>
        </p:sp>
        <p:sp>
          <p:nvSpPr>
            <p:cNvPr id="30" name="Hexagon 47">
              <a:extLst>
                <a:ext uri="{FF2B5EF4-FFF2-40B4-BE49-F238E27FC236}">
                  <a16:creationId xmlns:a16="http://schemas.microsoft.com/office/drawing/2014/main" id="{1D1872BE-8394-76B6-D2A9-8FCBF2515B1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48367" y="4863438"/>
              <a:ext cx="720000" cy="620689"/>
            </a:xfrm>
            <a:prstGeom prst="hexagon">
              <a:avLst/>
            </a:prstGeom>
            <a:grpFill/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0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.3</a:t>
              </a:r>
            </a:p>
          </p:txBody>
        </p:sp>
        <p:grpSp>
          <p:nvGrpSpPr>
            <p:cNvPr id="31" name="Group 3">
              <a:extLst>
                <a:ext uri="{FF2B5EF4-FFF2-40B4-BE49-F238E27FC236}">
                  <a16:creationId xmlns:a16="http://schemas.microsoft.com/office/drawing/2014/main" id="{5F3A62A7-662E-BA81-4090-CC2AD2C18E86}"/>
                </a:ext>
              </a:extLst>
            </p:cNvPr>
            <p:cNvGrpSpPr/>
            <p:nvPr/>
          </p:nvGrpSpPr>
          <p:grpSpPr>
            <a:xfrm>
              <a:off x="2254283" y="4535095"/>
              <a:ext cx="1323600" cy="1605722"/>
              <a:chOff x="4020997" y="4535095"/>
              <a:chExt cx="1323600" cy="1605722"/>
            </a:xfrm>
            <a:grpFill/>
          </p:grpSpPr>
          <p:sp>
            <p:nvSpPr>
              <p:cNvPr id="1038" name="Hexagon 57">
                <a:extLst>
                  <a:ext uri="{FF2B5EF4-FFF2-40B4-BE49-F238E27FC236}">
                    <a16:creationId xmlns:a16="http://schemas.microsoft.com/office/drawing/2014/main" id="{B7D0B938-0D17-BAE5-48EA-41D7F894529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020998" y="4535095"/>
                <a:ext cx="720000" cy="620689"/>
              </a:xfrm>
              <a:prstGeom prst="hexagon">
                <a:avLst/>
              </a:prstGeom>
              <a:grpFill/>
              <a:ln w="9525">
                <a:solidFill>
                  <a:srgbClr val="4BB9B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32A0A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2.1</a:t>
                </a:r>
              </a:p>
            </p:txBody>
          </p:sp>
          <p:sp>
            <p:nvSpPr>
              <p:cNvPr id="1039" name="Hexagon 58">
                <a:extLst>
                  <a:ext uri="{FF2B5EF4-FFF2-40B4-BE49-F238E27FC236}">
                    <a16:creationId xmlns:a16="http://schemas.microsoft.com/office/drawing/2014/main" id="{1B515A9D-6B7C-50F8-B188-8363E1A8815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624597" y="5520128"/>
                <a:ext cx="720000" cy="620689"/>
              </a:xfrm>
              <a:prstGeom prst="hexagon">
                <a:avLst/>
              </a:prstGeom>
              <a:grpFill/>
              <a:ln w="9525">
                <a:solidFill>
                  <a:srgbClr val="4BB9B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32A0A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2.4</a:t>
                </a:r>
              </a:p>
            </p:txBody>
          </p:sp>
          <p:sp>
            <p:nvSpPr>
              <p:cNvPr id="1040" name="Hexagon 59">
                <a:extLst>
                  <a:ext uri="{FF2B5EF4-FFF2-40B4-BE49-F238E27FC236}">
                    <a16:creationId xmlns:a16="http://schemas.microsoft.com/office/drawing/2014/main" id="{9D9754DB-A5E3-611C-301E-996951B041F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020997" y="5191783"/>
                <a:ext cx="720000" cy="620689"/>
              </a:xfrm>
              <a:prstGeom prst="hexagon">
                <a:avLst/>
              </a:prstGeom>
              <a:grpFill/>
              <a:ln w="9525">
                <a:solidFill>
                  <a:srgbClr val="4BB9B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32A0A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2.2</a:t>
                </a:r>
              </a:p>
            </p:txBody>
          </p:sp>
          <p:sp>
            <p:nvSpPr>
              <p:cNvPr id="1041" name="Hexagon 60">
                <a:extLst>
                  <a:ext uri="{FF2B5EF4-FFF2-40B4-BE49-F238E27FC236}">
                    <a16:creationId xmlns:a16="http://schemas.microsoft.com/office/drawing/2014/main" id="{A1478912-C32B-1FB2-6A6D-9907365D8D5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624597" y="4863438"/>
                <a:ext cx="720000" cy="620689"/>
              </a:xfrm>
              <a:prstGeom prst="hexagon">
                <a:avLst/>
              </a:prstGeom>
              <a:grpFill/>
              <a:ln w="9525">
                <a:solidFill>
                  <a:srgbClr val="4BB9B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32A0A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2.3</a:t>
                </a:r>
              </a:p>
            </p:txBody>
          </p:sp>
        </p:grpSp>
        <p:grpSp>
          <p:nvGrpSpPr>
            <p:cNvPr id="1024" name="Group 4">
              <a:extLst>
                <a:ext uri="{FF2B5EF4-FFF2-40B4-BE49-F238E27FC236}">
                  <a16:creationId xmlns:a16="http://schemas.microsoft.com/office/drawing/2014/main" id="{170E0071-5F29-4374-4A79-B4E9314D4B21}"/>
                </a:ext>
              </a:extLst>
            </p:cNvPr>
            <p:cNvGrpSpPr/>
            <p:nvPr/>
          </p:nvGrpSpPr>
          <p:grpSpPr>
            <a:xfrm>
              <a:off x="3457497" y="4535095"/>
              <a:ext cx="2526846" cy="1605722"/>
              <a:chOff x="6395604" y="4535095"/>
              <a:chExt cx="2526846" cy="1605722"/>
            </a:xfrm>
            <a:grpFill/>
          </p:grpSpPr>
          <p:sp>
            <p:nvSpPr>
              <p:cNvPr id="1030" name="Hexagon 66">
                <a:extLst>
                  <a:ext uri="{FF2B5EF4-FFF2-40B4-BE49-F238E27FC236}">
                    <a16:creationId xmlns:a16="http://schemas.microsoft.com/office/drawing/2014/main" id="{BBBDC6F4-9870-CD6F-F714-246B2E0EAD9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395605" y="4535095"/>
                <a:ext cx="720000" cy="620689"/>
              </a:xfrm>
              <a:prstGeom prst="hexagon">
                <a:avLst/>
              </a:prstGeom>
              <a:grpFill/>
              <a:ln w="9525">
                <a:solidFill>
                  <a:srgbClr val="4BB9B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32A0A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3.1</a:t>
                </a:r>
              </a:p>
            </p:txBody>
          </p:sp>
          <p:sp>
            <p:nvSpPr>
              <p:cNvPr id="1031" name="Hexagon 67">
                <a:extLst>
                  <a:ext uri="{FF2B5EF4-FFF2-40B4-BE49-F238E27FC236}">
                    <a16:creationId xmlns:a16="http://schemas.microsoft.com/office/drawing/2014/main" id="{D3161C29-CC0E-B113-BCC8-445967C178E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999204" y="5520128"/>
                <a:ext cx="720000" cy="620689"/>
              </a:xfrm>
              <a:prstGeom prst="hexagon">
                <a:avLst/>
              </a:prstGeom>
              <a:grpFill/>
              <a:ln w="9525">
                <a:solidFill>
                  <a:srgbClr val="4BB9B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32A0A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3.4</a:t>
                </a:r>
              </a:p>
            </p:txBody>
          </p:sp>
          <p:sp>
            <p:nvSpPr>
              <p:cNvPr id="1032" name="Hexagon 68">
                <a:extLst>
                  <a:ext uri="{FF2B5EF4-FFF2-40B4-BE49-F238E27FC236}">
                    <a16:creationId xmlns:a16="http://schemas.microsoft.com/office/drawing/2014/main" id="{0A83E9FC-057A-5FF1-CFCF-2D4081EE296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395604" y="5191783"/>
                <a:ext cx="720000" cy="620689"/>
              </a:xfrm>
              <a:prstGeom prst="hexagon">
                <a:avLst/>
              </a:prstGeom>
              <a:grpFill/>
              <a:ln w="9525">
                <a:solidFill>
                  <a:srgbClr val="4BB9B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32A0A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3.2</a:t>
                </a:r>
              </a:p>
            </p:txBody>
          </p:sp>
          <p:sp>
            <p:nvSpPr>
              <p:cNvPr id="1033" name="Hexagon 69">
                <a:extLst>
                  <a:ext uri="{FF2B5EF4-FFF2-40B4-BE49-F238E27FC236}">
                    <a16:creationId xmlns:a16="http://schemas.microsoft.com/office/drawing/2014/main" id="{35CC3089-E049-2007-C862-63F1B553FB1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999204" y="4863438"/>
                <a:ext cx="720000" cy="620689"/>
              </a:xfrm>
              <a:prstGeom prst="hexagon">
                <a:avLst/>
              </a:prstGeom>
              <a:grpFill/>
              <a:ln w="9525">
                <a:solidFill>
                  <a:srgbClr val="4BB9B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32A0A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3.3</a:t>
                </a:r>
              </a:p>
            </p:txBody>
          </p:sp>
          <p:sp>
            <p:nvSpPr>
              <p:cNvPr id="1034" name="Hexagon 70">
                <a:extLst>
                  <a:ext uri="{FF2B5EF4-FFF2-40B4-BE49-F238E27FC236}">
                    <a16:creationId xmlns:a16="http://schemas.microsoft.com/office/drawing/2014/main" id="{672CC6E8-E0F8-CC49-A1F9-25FD8395665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02374" y="5191783"/>
                <a:ext cx="720000" cy="620689"/>
              </a:xfrm>
              <a:prstGeom prst="hexagon">
                <a:avLst/>
              </a:prstGeom>
              <a:grpFill/>
              <a:ln w="9525">
                <a:solidFill>
                  <a:srgbClr val="4BB9B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32A0A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3.6</a:t>
                </a:r>
              </a:p>
            </p:txBody>
          </p:sp>
          <p:sp>
            <p:nvSpPr>
              <p:cNvPr id="1035" name="Hexagon 71">
                <a:extLst>
                  <a:ext uri="{FF2B5EF4-FFF2-40B4-BE49-F238E27FC236}">
                    <a16:creationId xmlns:a16="http://schemas.microsoft.com/office/drawing/2014/main" id="{E5799CF4-26B4-8913-29D7-B245B6BCB06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02374" y="4535095"/>
                <a:ext cx="720000" cy="620689"/>
              </a:xfrm>
              <a:prstGeom prst="hexagon">
                <a:avLst/>
              </a:prstGeom>
              <a:grpFill/>
              <a:ln w="9525">
                <a:solidFill>
                  <a:srgbClr val="4BB9B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32A0A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3.5</a:t>
                </a:r>
              </a:p>
            </p:txBody>
          </p:sp>
          <p:sp>
            <p:nvSpPr>
              <p:cNvPr id="1036" name="Hexagon 72">
                <a:extLst>
                  <a:ext uri="{FF2B5EF4-FFF2-40B4-BE49-F238E27FC236}">
                    <a16:creationId xmlns:a16="http://schemas.microsoft.com/office/drawing/2014/main" id="{EEE6BC8A-0FD3-4C37-379A-C4FE7DB2F35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02450" y="5520128"/>
                <a:ext cx="720000" cy="620689"/>
              </a:xfrm>
              <a:prstGeom prst="hexagon">
                <a:avLst/>
              </a:prstGeom>
              <a:grpFill/>
              <a:ln w="9525">
                <a:solidFill>
                  <a:srgbClr val="4BB9B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32A0A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3.8</a:t>
                </a:r>
              </a:p>
            </p:txBody>
          </p:sp>
          <p:sp>
            <p:nvSpPr>
              <p:cNvPr id="1037" name="Hexagon 73">
                <a:extLst>
                  <a:ext uri="{FF2B5EF4-FFF2-40B4-BE49-F238E27FC236}">
                    <a16:creationId xmlns:a16="http://schemas.microsoft.com/office/drawing/2014/main" id="{578FE20F-EF98-00FB-5FC0-509D1577D8D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02450" y="4863437"/>
                <a:ext cx="720000" cy="620689"/>
              </a:xfrm>
              <a:prstGeom prst="hexagon">
                <a:avLst/>
              </a:prstGeom>
              <a:grpFill/>
              <a:ln w="9525">
                <a:solidFill>
                  <a:srgbClr val="4BB9B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32A0A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3.7</a:t>
                </a:r>
              </a:p>
            </p:txBody>
          </p:sp>
        </p:grpSp>
        <p:grpSp>
          <p:nvGrpSpPr>
            <p:cNvPr id="1025" name="Group 5">
              <a:extLst>
                <a:ext uri="{FF2B5EF4-FFF2-40B4-BE49-F238E27FC236}">
                  <a16:creationId xmlns:a16="http://schemas.microsoft.com/office/drawing/2014/main" id="{B53510DE-EDB2-A9C3-95C1-D2887998934D}"/>
                </a:ext>
              </a:extLst>
            </p:cNvPr>
            <p:cNvGrpSpPr/>
            <p:nvPr/>
          </p:nvGrpSpPr>
          <p:grpSpPr>
            <a:xfrm>
              <a:off x="5865000" y="4535095"/>
              <a:ext cx="1323600" cy="1277377"/>
              <a:chOff x="9973999" y="4535095"/>
              <a:chExt cx="1323600" cy="1277377"/>
            </a:xfrm>
            <a:grpFill/>
          </p:grpSpPr>
          <p:sp>
            <p:nvSpPr>
              <p:cNvPr id="1027" name="Hexagon 75">
                <a:extLst>
                  <a:ext uri="{FF2B5EF4-FFF2-40B4-BE49-F238E27FC236}">
                    <a16:creationId xmlns:a16="http://schemas.microsoft.com/office/drawing/2014/main" id="{2DCCA428-3DEF-B9FA-343B-587D7A74719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974000" y="4535095"/>
                <a:ext cx="720000" cy="620689"/>
              </a:xfrm>
              <a:prstGeom prst="hexagon">
                <a:avLst/>
              </a:prstGeom>
              <a:grpFill/>
              <a:ln w="9525">
                <a:solidFill>
                  <a:srgbClr val="4BB9B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32A0A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4.1</a:t>
                </a:r>
              </a:p>
            </p:txBody>
          </p:sp>
          <p:sp>
            <p:nvSpPr>
              <p:cNvPr id="1028" name="Hexagon 77">
                <a:extLst>
                  <a:ext uri="{FF2B5EF4-FFF2-40B4-BE49-F238E27FC236}">
                    <a16:creationId xmlns:a16="http://schemas.microsoft.com/office/drawing/2014/main" id="{2D8FE5F6-2DFE-5CCC-5038-B19BEA1FCF0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973999" y="5191783"/>
                <a:ext cx="720000" cy="620689"/>
              </a:xfrm>
              <a:prstGeom prst="hexagon">
                <a:avLst/>
              </a:prstGeom>
              <a:grpFill/>
              <a:ln w="9525">
                <a:solidFill>
                  <a:srgbClr val="4BB9B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32A0A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4.2</a:t>
                </a:r>
              </a:p>
            </p:txBody>
          </p:sp>
          <p:sp>
            <p:nvSpPr>
              <p:cNvPr id="1029" name="Hexagon 78">
                <a:extLst>
                  <a:ext uri="{FF2B5EF4-FFF2-40B4-BE49-F238E27FC236}">
                    <a16:creationId xmlns:a16="http://schemas.microsoft.com/office/drawing/2014/main" id="{2189BE73-A810-D315-81BF-FE9E72748DE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577599" y="4863438"/>
                <a:ext cx="720000" cy="620689"/>
              </a:xfrm>
              <a:prstGeom prst="hexagon">
                <a:avLst/>
              </a:prstGeom>
              <a:grpFill/>
              <a:ln w="9525">
                <a:solidFill>
                  <a:srgbClr val="4BB9B9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32A0A0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4.3</a:t>
                </a:r>
              </a:p>
            </p:txBody>
          </p:sp>
        </p:grpSp>
      </p:grpSp>
      <p:sp>
        <p:nvSpPr>
          <p:cNvPr id="1042" name="TextBox 83">
            <a:extLst>
              <a:ext uri="{FF2B5EF4-FFF2-40B4-BE49-F238E27FC236}">
                <a16:creationId xmlns:a16="http://schemas.microsoft.com/office/drawing/2014/main" id="{5192B4F4-2ECA-7FF2-A6AB-327A5664E0FD}"/>
              </a:ext>
            </a:extLst>
          </p:cNvPr>
          <p:cNvSpPr txBox="1"/>
          <p:nvPr/>
        </p:nvSpPr>
        <p:spPr>
          <a:xfrm>
            <a:off x="6430894" y="2618912"/>
            <a:ext cx="618503" cy="21858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rgbClr val="4BB9B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Job API</a:t>
            </a:r>
          </a:p>
        </p:txBody>
      </p:sp>
      <p:sp>
        <p:nvSpPr>
          <p:cNvPr id="1043" name="TextBox 84">
            <a:extLst>
              <a:ext uri="{FF2B5EF4-FFF2-40B4-BE49-F238E27FC236}">
                <a16:creationId xmlns:a16="http://schemas.microsoft.com/office/drawing/2014/main" id="{66D935BF-3AF4-645D-F1D7-6AC18BC7E7EB}"/>
              </a:ext>
            </a:extLst>
          </p:cNvPr>
          <p:cNvSpPr txBox="1"/>
          <p:nvPr/>
        </p:nvSpPr>
        <p:spPr>
          <a:xfrm>
            <a:off x="3849112" y="2623906"/>
            <a:ext cx="748346" cy="21858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rgbClr val="4BB9B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ase API</a:t>
            </a:r>
          </a:p>
        </p:txBody>
      </p:sp>
      <p:sp>
        <p:nvSpPr>
          <p:cNvPr id="1044" name="TextBox 85">
            <a:extLst>
              <a:ext uri="{FF2B5EF4-FFF2-40B4-BE49-F238E27FC236}">
                <a16:creationId xmlns:a16="http://schemas.microsoft.com/office/drawing/2014/main" id="{30408900-777E-0BD5-78D8-210E806F58F6}"/>
              </a:ext>
            </a:extLst>
          </p:cNvPr>
          <p:cNvSpPr txBox="1"/>
          <p:nvPr/>
        </p:nvSpPr>
        <p:spPr>
          <a:xfrm>
            <a:off x="6476337" y="5323466"/>
            <a:ext cx="766235" cy="21858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rgbClr val="4BB9B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atabase</a:t>
            </a:r>
          </a:p>
        </p:txBody>
      </p:sp>
      <p:sp>
        <p:nvSpPr>
          <p:cNvPr id="1045" name="TextBox 86">
            <a:extLst>
              <a:ext uri="{FF2B5EF4-FFF2-40B4-BE49-F238E27FC236}">
                <a16:creationId xmlns:a16="http://schemas.microsoft.com/office/drawing/2014/main" id="{52766729-A175-A441-C816-B31596F59DEB}"/>
              </a:ext>
            </a:extLst>
          </p:cNvPr>
          <p:cNvSpPr txBox="1"/>
          <p:nvPr/>
        </p:nvSpPr>
        <p:spPr>
          <a:xfrm>
            <a:off x="3364046" y="5323466"/>
            <a:ext cx="965008" cy="21858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rgbClr val="4BB9B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ile Storage</a:t>
            </a:r>
          </a:p>
        </p:txBody>
      </p:sp>
      <p:cxnSp>
        <p:nvCxnSpPr>
          <p:cNvPr id="1046" name="Straight Connector 17">
            <a:extLst>
              <a:ext uri="{FF2B5EF4-FFF2-40B4-BE49-F238E27FC236}">
                <a16:creationId xmlns:a16="http://schemas.microsoft.com/office/drawing/2014/main" id="{D580FA02-B18A-B2B6-1AFC-3A95C4C4D87E}"/>
              </a:ext>
            </a:extLst>
          </p:cNvPr>
          <p:cNvCxnSpPr/>
          <p:nvPr/>
        </p:nvCxnSpPr>
        <p:spPr bwMode="auto">
          <a:xfrm>
            <a:off x="1857974" y="5036322"/>
            <a:ext cx="6983209" cy="0"/>
          </a:xfrm>
          <a:prstGeom prst="line">
            <a:avLst/>
          </a:prstGeom>
          <a:solidFill>
            <a:schemeClr val="tx2"/>
          </a:solidFill>
          <a:ln w="3175" cap="flat" cmpd="sng" algn="ctr">
            <a:solidFill>
              <a:srgbClr val="4BB9B9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47" name="Straight Connector 93">
            <a:extLst>
              <a:ext uri="{FF2B5EF4-FFF2-40B4-BE49-F238E27FC236}">
                <a16:creationId xmlns:a16="http://schemas.microsoft.com/office/drawing/2014/main" id="{9E5144FF-CFC1-0FDE-5599-304440188148}"/>
              </a:ext>
            </a:extLst>
          </p:cNvPr>
          <p:cNvCxnSpPr/>
          <p:nvPr/>
        </p:nvCxnSpPr>
        <p:spPr bwMode="auto">
          <a:xfrm>
            <a:off x="1857183" y="2315675"/>
            <a:ext cx="6984000" cy="0"/>
          </a:xfrm>
          <a:prstGeom prst="line">
            <a:avLst/>
          </a:prstGeom>
          <a:solidFill>
            <a:schemeClr val="tx2"/>
          </a:solidFill>
          <a:ln w="3175" cap="flat" cmpd="sng" algn="ctr">
            <a:solidFill>
              <a:srgbClr val="4BB9B9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48" name="Straight Connector 94">
            <a:extLst>
              <a:ext uri="{FF2B5EF4-FFF2-40B4-BE49-F238E27FC236}">
                <a16:creationId xmlns:a16="http://schemas.microsoft.com/office/drawing/2014/main" id="{DE54A198-8447-00D1-815A-8713D71914DB}"/>
              </a:ext>
            </a:extLst>
          </p:cNvPr>
          <p:cNvCxnSpPr/>
          <p:nvPr/>
        </p:nvCxnSpPr>
        <p:spPr bwMode="auto">
          <a:xfrm>
            <a:off x="1857183" y="3108550"/>
            <a:ext cx="6984000" cy="0"/>
          </a:xfrm>
          <a:prstGeom prst="line">
            <a:avLst/>
          </a:prstGeom>
          <a:solidFill>
            <a:schemeClr val="tx2"/>
          </a:solidFill>
          <a:ln w="3175" cap="flat" cmpd="sng" algn="ctr">
            <a:solidFill>
              <a:srgbClr val="4BB9B9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49" name="TextBox 95">
            <a:extLst>
              <a:ext uri="{FF2B5EF4-FFF2-40B4-BE49-F238E27FC236}">
                <a16:creationId xmlns:a16="http://schemas.microsoft.com/office/drawing/2014/main" id="{C09D19F7-0091-88ED-AF60-B90BE188BB65}"/>
              </a:ext>
            </a:extLst>
          </p:cNvPr>
          <p:cNvSpPr txBox="1"/>
          <p:nvPr/>
        </p:nvSpPr>
        <p:spPr>
          <a:xfrm>
            <a:off x="4904313" y="1780440"/>
            <a:ext cx="1114088" cy="21858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rgbClr val="4BB9B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eb Interface</a:t>
            </a:r>
          </a:p>
        </p:txBody>
      </p:sp>
      <p:cxnSp>
        <p:nvCxnSpPr>
          <p:cNvPr id="1050" name="Straight Connector 39">
            <a:extLst>
              <a:ext uri="{FF2B5EF4-FFF2-40B4-BE49-F238E27FC236}">
                <a16:creationId xmlns:a16="http://schemas.microsoft.com/office/drawing/2014/main" id="{C547DFDF-2BC3-7CCD-A411-9D4AC89AC7DC}"/>
              </a:ext>
            </a:extLst>
          </p:cNvPr>
          <p:cNvCxnSpPr/>
          <p:nvPr/>
        </p:nvCxnSpPr>
        <p:spPr bwMode="auto">
          <a:xfrm flipV="1">
            <a:off x="5654636" y="3587606"/>
            <a:ext cx="599768" cy="302658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51" name="Straight Connector 14">
            <a:extLst>
              <a:ext uri="{FF2B5EF4-FFF2-40B4-BE49-F238E27FC236}">
                <a16:creationId xmlns:a16="http://schemas.microsoft.com/office/drawing/2014/main" id="{6EE032F2-9836-5440-2B7A-C4FDBF46F953}"/>
              </a:ext>
            </a:extLst>
          </p:cNvPr>
          <p:cNvCxnSpPr/>
          <p:nvPr/>
        </p:nvCxnSpPr>
        <p:spPr bwMode="auto">
          <a:xfrm flipH="1">
            <a:off x="2636047" y="1975722"/>
            <a:ext cx="5179" cy="735742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diamond" w="lg" len="lg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52" name="Straight Connector 19">
            <a:extLst>
              <a:ext uri="{FF2B5EF4-FFF2-40B4-BE49-F238E27FC236}">
                <a16:creationId xmlns:a16="http://schemas.microsoft.com/office/drawing/2014/main" id="{79E7864F-2EEE-B461-53E0-ED6A9F2D95EA}"/>
              </a:ext>
            </a:extLst>
          </p:cNvPr>
          <p:cNvCxnSpPr/>
          <p:nvPr/>
        </p:nvCxnSpPr>
        <p:spPr bwMode="auto">
          <a:xfrm flipV="1">
            <a:off x="3255565" y="3587606"/>
            <a:ext cx="594996" cy="33865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53" name="Straight Connector 21">
            <a:extLst>
              <a:ext uri="{FF2B5EF4-FFF2-40B4-BE49-F238E27FC236}">
                <a16:creationId xmlns:a16="http://schemas.microsoft.com/office/drawing/2014/main" id="{11640586-1205-B577-D5C4-44B31EDC6073}"/>
              </a:ext>
            </a:extLst>
          </p:cNvPr>
          <p:cNvCxnSpPr/>
          <p:nvPr/>
        </p:nvCxnSpPr>
        <p:spPr bwMode="auto">
          <a:xfrm>
            <a:off x="2629880" y="3587606"/>
            <a:ext cx="1824453" cy="995345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54" name="Straight Connector 23">
            <a:extLst>
              <a:ext uri="{FF2B5EF4-FFF2-40B4-BE49-F238E27FC236}">
                <a16:creationId xmlns:a16="http://schemas.microsoft.com/office/drawing/2014/main" id="{03D45C59-6F2B-B388-844E-04BCA82F16A7}"/>
              </a:ext>
            </a:extLst>
          </p:cNvPr>
          <p:cNvCxnSpPr/>
          <p:nvPr/>
        </p:nvCxnSpPr>
        <p:spPr bwMode="auto">
          <a:xfrm flipV="1">
            <a:off x="3850561" y="3926263"/>
            <a:ext cx="615380" cy="317183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55" name="Straight Connector 25">
            <a:extLst>
              <a:ext uri="{FF2B5EF4-FFF2-40B4-BE49-F238E27FC236}">
                <a16:creationId xmlns:a16="http://schemas.microsoft.com/office/drawing/2014/main" id="{C9069DA5-CBB6-04E6-EFEF-B74EE4D682D5}"/>
              </a:ext>
            </a:extLst>
          </p:cNvPr>
          <p:cNvCxnSpPr/>
          <p:nvPr/>
        </p:nvCxnSpPr>
        <p:spPr bwMode="auto">
          <a:xfrm>
            <a:off x="4455101" y="3926263"/>
            <a:ext cx="580103" cy="328345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56" name="Straight Connector 27">
            <a:extLst>
              <a:ext uri="{FF2B5EF4-FFF2-40B4-BE49-F238E27FC236}">
                <a16:creationId xmlns:a16="http://schemas.microsoft.com/office/drawing/2014/main" id="{5827279A-B2EC-A2C6-1D97-6F81EDFCADC8}"/>
              </a:ext>
            </a:extLst>
          </p:cNvPr>
          <p:cNvCxnSpPr/>
          <p:nvPr/>
        </p:nvCxnSpPr>
        <p:spPr bwMode="auto">
          <a:xfrm>
            <a:off x="5035204" y="4254608"/>
            <a:ext cx="615189" cy="320586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57" name="Straight Connector 29">
            <a:extLst>
              <a:ext uri="{FF2B5EF4-FFF2-40B4-BE49-F238E27FC236}">
                <a16:creationId xmlns:a16="http://schemas.microsoft.com/office/drawing/2014/main" id="{5105F262-2AEF-A3BD-68BD-5A12C0423643}"/>
              </a:ext>
            </a:extLst>
          </p:cNvPr>
          <p:cNvCxnSpPr/>
          <p:nvPr/>
        </p:nvCxnSpPr>
        <p:spPr bwMode="auto">
          <a:xfrm flipV="1">
            <a:off x="5650393" y="4254608"/>
            <a:ext cx="604011" cy="328343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58" name="Straight Connector 31">
            <a:extLst>
              <a:ext uri="{FF2B5EF4-FFF2-40B4-BE49-F238E27FC236}">
                <a16:creationId xmlns:a16="http://schemas.microsoft.com/office/drawing/2014/main" id="{B2562D24-83F4-5EE8-6211-3EAAE9AFA724}"/>
              </a:ext>
            </a:extLst>
          </p:cNvPr>
          <p:cNvCxnSpPr/>
          <p:nvPr/>
        </p:nvCxnSpPr>
        <p:spPr bwMode="auto">
          <a:xfrm>
            <a:off x="6254404" y="4254608"/>
            <a:ext cx="580103" cy="29234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59" name="Straight Connector 33">
            <a:extLst>
              <a:ext uri="{FF2B5EF4-FFF2-40B4-BE49-F238E27FC236}">
                <a16:creationId xmlns:a16="http://schemas.microsoft.com/office/drawing/2014/main" id="{670F9CF8-611E-F478-4AB2-270A4E0E7E8E}"/>
              </a:ext>
            </a:extLst>
          </p:cNvPr>
          <p:cNvCxnSpPr/>
          <p:nvPr/>
        </p:nvCxnSpPr>
        <p:spPr bwMode="auto">
          <a:xfrm>
            <a:off x="6834507" y="4546952"/>
            <a:ext cx="605178" cy="328345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60" name="Straight Connector 35">
            <a:extLst>
              <a:ext uri="{FF2B5EF4-FFF2-40B4-BE49-F238E27FC236}">
                <a16:creationId xmlns:a16="http://schemas.microsoft.com/office/drawing/2014/main" id="{3BEE631D-6039-DC47-2DEB-258072DDEA17}"/>
              </a:ext>
            </a:extLst>
          </p:cNvPr>
          <p:cNvCxnSpPr/>
          <p:nvPr/>
        </p:nvCxnSpPr>
        <p:spPr bwMode="auto">
          <a:xfrm flipV="1">
            <a:off x="6834507" y="4243446"/>
            <a:ext cx="600485" cy="30350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61" name="Straight Connector 37">
            <a:extLst>
              <a:ext uri="{FF2B5EF4-FFF2-40B4-BE49-F238E27FC236}">
                <a16:creationId xmlns:a16="http://schemas.microsoft.com/office/drawing/2014/main" id="{0B3574BD-24D0-BB31-CF45-F460E206DFBC}"/>
              </a:ext>
            </a:extLst>
          </p:cNvPr>
          <p:cNvCxnSpPr/>
          <p:nvPr/>
        </p:nvCxnSpPr>
        <p:spPr bwMode="auto">
          <a:xfrm flipV="1">
            <a:off x="5035204" y="3890264"/>
            <a:ext cx="619432" cy="36434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62" name="Straight Connector 41">
            <a:extLst>
              <a:ext uri="{FF2B5EF4-FFF2-40B4-BE49-F238E27FC236}">
                <a16:creationId xmlns:a16="http://schemas.microsoft.com/office/drawing/2014/main" id="{9350C125-4B04-F44E-1C2E-296E2F87F3AA}"/>
              </a:ext>
            </a:extLst>
          </p:cNvPr>
          <p:cNvCxnSpPr/>
          <p:nvPr/>
        </p:nvCxnSpPr>
        <p:spPr bwMode="auto">
          <a:xfrm>
            <a:off x="6254404" y="3587606"/>
            <a:ext cx="580103" cy="33865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63" name="Straight Connector 43">
            <a:extLst>
              <a:ext uri="{FF2B5EF4-FFF2-40B4-BE49-F238E27FC236}">
                <a16:creationId xmlns:a16="http://schemas.microsoft.com/office/drawing/2014/main" id="{90CFADB9-A5D2-F1E6-4395-D66C135AD25B}"/>
              </a:ext>
            </a:extLst>
          </p:cNvPr>
          <p:cNvCxnSpPr/>
          <p:nvPr/>
        </p:nvCxnSpPr>
        <p:spPr bwMode="auto">
          <a:xfrm>
            <a:off x="6834507" y="3926263"/>
            <a:ext cx="1273250" cy="67321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65" name="Straight Connector 109">
            <a:extLst>
              <a:ext uri="{FF2B5EF4-FFF2-40B4-BE49-F238E27FC236}">
                <a16:creationId xmlns:a16="http://schemas.microsoft.com/office/drawing/2014/main" id="{0313234B-E3D7-21EF-F424-F7AB2502E7CA}"/>
              </a:ext>
            </a:extLst>
          </p:cNvPr>
          <p:cNvCxnSpPr/>
          <p:nvPr/>
        </p:nvCxnSpPr>
        <p:spPr bwMode="auto">
          <a:xfrm>
            <a:off x="4455101" y="4575194"/>
            <a:ext cx="0" cy="617261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66" name="Straight Connector 111">
            <a:extLst>
              <a:ext uri="{FF2B5EF4-FFF2-40B4-BE49-F238E27FC236}">
                <a16:creationId xmlns:a16="http://schemas.microsoft.com/office/drawing/2014/main" id="{D952D6CE-BA05-3AA0-959F-C9D2D0D5C10B}"/>
              </a:ext>
            </a:extLst>
          </p:cNvPr>
          <p:cNvCxnSpPr/>
          <p:nvPr/>
        </p:nvCxnSpPr>
        <p:spPr bwMode="auto">
          <a:xfrm flipV="1">
            <a:off x="3850561" y="2971289"/>
            <a:ext cx="0" cy="61631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lg" len="lg"/>
            <a:tailEnd type="diamond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67" name="Straight Connector 115">
            <a:extLst>
              <a:ext uri="{FF2B5EF4-FFF2-40B4-BE49-F238E27FC236}">
                <a16:creationId xmlns:a16="http://schemas.microsoft.com/office/drawing/2014/main" id="{CE5EEC03-4C7F-5544-88B7-A0CA435CF4B5}"/>
              </a:ext>
            </a:extLst>
          </p:cNvPr>
          <p:cNvCxnSpPr/>
          <p:nvPr/>
        </p:nvCxnSpPr>
        <p:spPr bwMode="auto">
          <a:xfrm>
            <a:off x="7434992" y="4875297"/>
            <a:ext cx="0" cy="317158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68" name="Straight Connector 119">
            <a:extLst>
              <a:ext uri="{FF2B5EF4-FFF2-40B4-BE49-F238E27FC236}">
                <a16:creationId xmlns:a16="http://schemas.microsoft.com/office/drawing/2014/main" id="{623209C8-A881-BE80-BA72-B4F175790BF3}"/>
              </a:ext>
            </a:extLst>
          </p:cNvPr>
          <p:cNvCxnSpPr/>
          <p:nvPr/>
        </p:nvCxnSpPr>
        <p:spPr bwMode="auto">
          <a:xfrm>
            <a:off x="8107757" y="4582951"/>
            <a:ext cx="0" cy="60950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69" name="Straight Connector 121">
            <a:extLst>
              <a:ext uri="{FF2B5EF4-FFF2-40B4-BE49-F238E27FC236}">
                <a16:creationId xmlns:a16="http://schemas.microsoft.com/office/drawing/2014/main" id="{410F6E37-90E7-1A52-9681-6E1CB15860C1}"/>
              </a:ext>
            </a:extLst>
          </p:cNvPr>
          <p:cNvCxnSpPr/>
          <p:nvPr/>
        </p:nvCxnSpPr>
        <p:spPr bwMode="auto">
          <a:xfrm>
            <a:off x="5650393" y="4582951"/>
            <a:ext cx="0" cy="654359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diamond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70" name="Straight Connector 123">
            <a:extLst>
              <a:ext uri="{FF2B5EF4-FFF2-40B4-BE49-F238E27FC236}">
                <a16:creationId xmlns:a16="http://schemas.microsoft.com/office/drawing/2014/main" id="{9ED02E0A-F5B5-DEAD-DC88-1D7F60825DD1}"/>
              </a:ext>
            </a:extLst>
          </p:cNvPr>
          <p:cNvCxnSpPr/>
          <p:nvPr/>
        </p:nvCxnSpPr>
        <p:spPr bwMode="auto">
          <a:xfrm flipV="1">
            <a:off x="6254404" y="2971289"/>
            <a:ext cx="0" cy="60863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lg" len="lg"/>
            <a:tailEnd type="diamond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72" name="Straight Connector 136">
            <a:extLst>
              <a:ext uri="{FF2B5EF4-FFF2-40B4-BE49-F238E27FC236}">
                <a16:creationId xmlns:a16="http://schemas.microsoft.com/office/drawing/2014/main" id="{428F2E30-B834-BDC3-B52B-7EAE18F1437A}"/>
              </a:ext>
            </a:extLst>
          </p:cNvPr>
          <p:cNvCxnSpPr/>
          <p:nvPr/>
        </p:nvCxnSpPr>
        <p:spPr bwMode="auto">
          <a:xfrm>
            <a:off x="2638636" y="2711464"/>
            <a:ext cx="0" cy="886453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73" name="Straight Connector 141">
            <a:extLst>
              <a:ext uri="{FF2B5EF4-FFF2-40B4-BE49-F238E27FC236}">
                <a16:creationId xmlns:a16="http://schemas.microsoft.com/office/drawing/2014/main" id="{69286980-F3F5-5759-B0F3-89282AA7FCDF}"/>
              </a:ext>
            </a:extLst>
          </p:cNvPr>
          <p:cNvCxnSpPr/>
          <p:nvPr/>
        </p:nvCxnSpPr>
        <p:spPr bwMode="auto">
          <a:xfrm>
            <a:off x="8636760" y="1975722"/>
            <a:ext cx="0" cy="3501618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AF235F"/>
            </a:solidFill>
            <a:prstDash val="dash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74" name="TextBox 74">
            <a:extLst>
              <a:ext uri="{FF2B5EF4-FFF2-40B4-BE49-F238E27FC236}">
                <a16:creationId xmlns:a16="http://schemas.microsoft.com/office/drawing/2014/main" id="{876753D9-BCBC-508B-9332-4985282847CD}"/>
              </a:ext>
            </a:extLst>
          </p:cNvPr>
          <p:cNvSpPr txBox="1"/>
          <p:nvPr/>
        </p:nvSpPr>
        <p:spPr>
          <a:xfrm>
            <a:off x="4952099" y="2628900"/>
            <a:ext cx="1067343" cy="21858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rgbClr val="4BB9B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vidence API</a:t>
            </a:r>
          </a:p>
        </p:txBody>
      </p:sp>
      <p:pic>
        <p:nvPicPr>
          <p:cNvPr id="4098" name="Picture 2" descr="FastAPI">
            <a:extLst>
              <a:ext uri="{FF2B5EF4-FFF2-40B4-BE49-F238E27FC236}">
                <a16:creationId xmlns:a16="http://schemas.microsoft.com/office/drawing/2014/main" id="{30047567-074D-823B-D9B6-2F0CD41CD6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5608" y="2458760"/>
            <a:ext cx="1517034" cy="54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VueJS and $forceUpdate() - GORGES Web Development">
            <a:extLst>
              <a:ext uri="{FF2B5EF4-FFF2-40B4-BE49-F238E27FC236}">
                <a16:creationId xmlns:a16="http://schemas.microsoft.com/office/drawing/2014/main" id="{1397B513-8D25-FCD3-535F-12279131EB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6280" y="1725292"/>
            <a:ext cx="1184082" cy="387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>
            <a:extLst>
              <a:ext uri="{FF2B5EF4-FFF2-40B4-BE49-F238E27FC236}">
                <a16:creationId xmlns:a16="http://schemas.microsoft.com/office/drawing/2014/main" id="{5ED8430F-CFEE-1C9D-ED07-1DECAA80A1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5525" y="3275604"/>
            <a:ext cx="688149" cy="75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Download Docker Logo in SVG Vector or PNG File Format - Logo.wine">
            <a:extLst>
              <a:ext uri="{FF2B5EF4-FFF2-40B4-BE49-F238E27FC236}">
                <a16:creationId xmlns:a16="http://schemas.microsoft.com/office/drawing/2014/main" id="{847BB550-7B2A-8EC8-1195-EB6CDB3143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53" t="26280" r="10266" b="30583"/>
          <a:stretch/>
        </p:blipFill>
        <p:spPr bwMode="auto">
          <a:xfrm>
            <a:off x="8851213" y="4326971"/>
            <a:ext cx="1483604" cy="545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4" name="Picture 18" descr="Amazon S3 Integration: Amazon Simple Storage Service | Cleo">
            <a:extLst>
              <a:ext uri="{FF2B5EF4-FFF2-40B4-BE49-F238E27FC236}">
                <a16:creationId xmlns:a16="http://schemas.microsoft.com/office/drawing/2014/main" id="{FE0127C5-2B4B-2155-E2A5-6147890425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10" t="6610" r="31181" b="11649"/>
          <a:stretch/>
        </p:blipFill>
        <p:spPr bwMode="auto">
          <a:xfrm>
            <a:off x="8993919" y="5110353"/>
            <a:ext cx="529004" cy="644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6" name="Picture 20" descr="A Practical Introduction to Elasticsearch with Kibana | by Victor S Melo |  Medium">
            <a:extLst>
              <a:ext uri="{FF2B5EF4-FFF2-40B4-BE49-F238E27FC236}">
                <a16:creationId xmlns:a16="http://schemas.microsoft.com/office/drawing/2014/main" id="{217EF994-6F8B-A447-D2B0-102C7CCF291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79" t="10005" r="31643" b="7281"/>
          <a:stretch/>
        </p:blipFill>
        <p:spPr bwMode="auto">
          <a:xfrm>
            <a:off x="9678405" y="5131767"/>
            <a:ext cx="595992" cy="649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46886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13474"/>
    </mc:Choice>
    <mc:Fallback>
      <p:transition spd="slow" advTm="113474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Roboter Silhouette">
            <a:extLst>
              <a:ext uri="{FF2B5EF4-FFF2-40B4-BE49-F238E27FC236}">
                <a16:creationId xmlns:a16="http://schemas.microsoft.com/office/drawing/2014/main" id="{BF6DFC1E-2628-A29F-2E28-EF1E7E9AE2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76997" y="1052187"/>
            <a:ext cx="4753626" cy="4753626"/>
          </a:xfrm>
          <a:prstGeom prst="rect">
            <a:avLst/>
          </a:prstGeom>
        </p:spPr>
      </p:pic>
      <p:sp>
        <p:nvSpPr>
          <p:cNvPr id="5" name="Title" descr="Title of the chapter">
            <a:extLst>
              <a:ext uri="{FF2B5EF4-FFF2-40B4-BE49-F238E27FC236}">
                <a16:creationId xmlns:a16="http://schemas.microsoft.com/office/drawing/2014/main" id="{F640B5D6-DA30-4A72-90BF-4686C1ACCA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3" y="2337991"/>
            <a:ext cx="11376025" cy="1846659"/>
          </a:xfrm>
        </p:spPr>
        <p:txBody>
          <a:bodyPr/>
          <a:lstStyle/>
          <a:p>
            <a:r>
              <a:rPr lang="en-US" noProof="0" dirty="0"/>
              <a:t>Workers </a:t>
            </a:r>
            <a:br>
              <a:rPr lang="en-US" noProof="0" dirty="0"/>
            </a:br>
            <a:r>
              <a:rPr lang="en-US" b="1" noProof="0" dirty="0"/>
              <a:t>The common tool interface</a:t>
            </a:r>
            <a:endParaRPr lang="en-US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219E2082-A671-48FA-BA58-21BFEF63DF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ACCFE235-7738-4971-A010-875207DA8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50592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268"/>
    </mc:Choice>
    <mc:Fallback>
      <p:transition spd="slow" advTm="6268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Tool Interface: The Worker abstraction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3" name="Picture 4" descr="High Quality Logo">
            <a:extLst>
              <a:ext uri="{FF2B5EF4-FFF2-40B4-BE49-F238E27FC236}">
                <a16:creationId xmlns:a16="http://schemas.microsoft.com/office/drawing/2014/main" id="{51242343-6B65-9772-FDA9-30BA9603A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943" y="2062627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62256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3129"/>
    </mc:Choice>
    <mc:Fallback>
      <p:transition spd="slow" advTm="53129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Tool Interface: The Worker abstraction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932C0C0F-F186-9BA0-5E48-A17A12A14AB3}"/>
              </a:ext>
            </a:extLst>
          </p:cNvPr>
          <p:cNvSpPr/>
          <p:nvPr/>
        </p:nvSpPr>
        <p:spPr>
          <a:xfrm>
            <a:off x="410400" y="1054800"/>
            <a:ext cx="6155710" cy="3092823"/>
          </a:xfrm>
          <a:prstGeom prst="roundRect">
            <a:avLst/>
          </a:prstGeom>
          <a:noFill/>
          <a:ln w="5715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E5C85B02-6DA3-BFEC-2BF0-99CECCE70D0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07551" y="1196831"/>
            <a:ext cx="3691218" cy="2364063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72000" tIns="180000" rIns="36000" bIns="180000" anchor="t">
            <a:sp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rgbClr val="32A0A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Wrap tool in a script</a:t>
            </a:r>
          </a:p>
          <a:p>
            <a:pPr marL="171450" lvl="2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efine worker properties</a:t>
            </a:r>
          </a:p>
          <a:p>
            <a:pPr marL="171450" lvl="2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efine worker input validation</a:t>
            </a:r>
          </a:p>
          <a:p>
            <a:pPr marL="171450" lvl="2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eady-to-use python library (“worker-lib”)</a:t>
            </a:r>
          </a:p>
          <a:p>
            <a:pPr marL="351450" lvl="3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Backend communication</a:t>
            </a:r>
          </a:p>
          <a:p>
            <a:pPr marL="351450" lvl="3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File handling abstractions</a:t>
            </a:r>
          </a:p>
          <a:p>
            <a:pPr marL="351450" lvl="3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Job management</a:t>
            </a:r>
          </a:p>
        </p:txBody>
      </p:sp>
      <p:sp>
        <p:nvSpPr>
          <p:cNvPr id="3" name="Denkblase: wolkenförmig 2">
            <a:extLst>
              <a:ext uri="{FF2B5EF4-FFF2-40B4-BE49-F238E27FC236}">
                <a16:creationId xmlns:a16="http://schemas.microsoft.com/office/drawing/2014/main" id="{C6DF7FD9-FF0B-3144-AF39-DACFED276402}"/>
              </a:ext>
            </a:extLst>
          </p:cNvPr>
          <p:cNvSpPr/>
          <p:nvPr/>
        </p:nvSpPr>
        <p:spPr>
          <a:xfrm>
            <a:off x="7187610" y="388816"/>
            <a:ext cx="3388290" cy="1089765"/>
          </a:xfrm>
          <a:prstGeom prst="cloudCallout">
            <a:avLst>
              <a:gd name="adj1" fmla="val -57986"/>
              <a:gd name="adj2" fmla="val 7112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GB" dirty="0"/>
              <a:t>Run analysis over input data</a:t>
            </a:r>
            <a:endParaRPr lang="de-DE" dirty="0"/>
          </a:p>
        </p:txBody>
      </p:sp>
      <p:sp>
        <p:nvSpPr>
          <p:cNvPr id="8" name="Denkblase: wolkenförmig 7">
            <a:extLst>
              <a:ext uri="{FF2B5EF4-FFF2-40B4-BE49-F238E27FC236}">
                <a16:creationId xmlns:a16="http://schemas.microsoft.com/office/drawing/2014/main" id="{572D2688-DAA8-DD2A-938C-41BFA3CDA881}"/>
              </a:ext>
            </a:extLst>
          </p:cNvPr>
          <p:cNvSpPr/>
          <p:nvPr/>
        </p:nvSpPr>
        <p:spPr>
          <a:xfrm>
            <a:off x="7388321" y="2047348"/>
            <a:ext cx="3388290" cy="1089765"/>
          </a:xfrm>
          <a:prstGeom prst="cloudCallout">
            <a:avLst>
              <a:gd name="adj1" fmla="val -67783"/>
              <a:gd name="adj2" fmla="val 27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GB" dirty="0"/>
              <a:t>Store results in case folder</a:t>
            </a:r>
            <a:endParaRPr lang="de-DE" dirty="0"/>
          </a:p>
        </p:txBody>
      </p:sp>
      <p:sp>
        <p:nvSpPr>
          <p:cNvPr id="9" name="Denkblase: wolkenförmig 8">
            <a:extLst>
              <a:ext uri="{FF2B5EF4-FFF2-40B4-BE49-F238E27FC236}">
                <a16:creationId xmlns:a16="http://schemas.microsoft.com/office/drawing/2014/main" id="{ABBA3E07-8B18-8634-2BB5-81B5DFBCCF6C}"/>
              </a:ext>
            </a:extLst>
          </p:cNvPr>
          <p:cNvSpPr/>
          <p:nvPr/>
        </p:nvSpPr>
        <p:spPr>
          <a:xfrm>
            <a:off x="7169116" y="3560894"/>
            <a:ext cx="3388290" cy="1089765"/>
          </a:xfrm>
          <a:prstGeom prst="cloudCallout">
            <a:avLst>
              <a:gd name="adj1" fmla="val -60574"/>
              <a:gd name="adj2" fmla="val -4037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GB" dirty="0"/>
              <a:t>Alert about suspicious findings</a:t>
            </a:r>
            <a:endParaRPr lang="de-DE" dirty="0"/>
          </a:p>
        </p:txBody>
      </p:sp>
      <p:sp>
        <p:nvSpPr>
          <p:cNvPr id="10" name="Denkblase: wolkenförmig 9">
            <a:extLst>
              <a:ext uri="{FF2B5EF4-FFF2-40B4-BE49-F238E27FC236}">
                <a16:creationId xmlns:a16="http://schemas.microsoft.com/office/drawing/2014/main" id="{51DD8220-B35C-1AB7-25ED-985ED786BD87}"/>
              </a:ext>
            </a:extLst>
          </p:cNvPr>
          <p:cNvSpPr/>
          <p:nvPr/>
        </p:nvSpPr>
        <p:spPr>
          <a:xfrm>
            <a:off x="6566110" y="4935847"/>
            <a:ext cx="3388290" cy="1089765"/>
          </a:xfrm>
          <a:prstGeom prst="cloudCallout">
            <a:avLst>
              <a:gd name="adj1" fmla="val -62053"/>
              <a:gd name="adj2" fmla="val -9956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GB" dirty="0"/>
              <a:t>Write results into a database</a:t>
            </a:r>
            <a:endParaRPr lang="de-DE" dirty="0"/>
          </a:p>
        </p:txBody>
      </p:sp>
      <p:sp>
        <p:nvSpPr>
          <p:cNvPr id="11" name="Denkblase: wolkenförmig 10">
            <a:extLst>
              <a:ext uri="{FF2B5EF4-FFF2-40B4-BE49-F238E27FC236}">
                <a16:creationId xmlns:a16="http://schemas.microsoft.com/office/drawing/2014/main" id="{AF5E61DA-BCBC-3E0D-6CEB-E59153DA229F}"/>
              </a:ext>
            </a:extLst>
          </p:cNvPr>
          <p:cNvSpPr/>
          <p:nvPr/>
        </p:nvSpPr>
        <p:spPr>
          <a:xfrm>
            <a:off x="2465924" y="5116286"/>
            <a:ext cx="3388290" cy="1089765"/>
          </a:xfrm>
          <a:prstGeom prst="cloudCallout">
            <a:avLst>
              <a:gd name="adj1" fmla="val -13625"/>
              <a:gd name="adj2" fmla="val -1168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GB" dirty="0"/>
              <a:t>Report progress and job status</a:t>
            </a:r>
            <a:endParaRPr lang="de-DE" dirty="0"/>
          </a:p>
        </p:txBody>
      </p:sp>
      <p:pic>
        <p:nvPicPr>
          <p:cNvPr id="12" name="Picture 4" descr="High Quality Logo">
            <a:extLst>
              <a:ext uri="{FF2B5EF4-FFF2-40B4-BE49-F238E27FC236}">
                <a16:creationId xmlns:a16="http://schemas.microsoft.com/office/drawing/2014/main" id="{A38B9FCC-0608-B513-76D4-A80CC15CA2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943" y="2062627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228537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4702"/>
    </mc:Choice>
    <mc:Fallback>
      <p:transition spd="slow" advTm="8470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 animBg="1"/>
      <p:bldP spid="9" grpId="0" animBg="1"/>
      <p:bldP spid="10" grpId="0" animBg="1"/>
      <p:bldP spid="1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Tool Interface: The Worker abstraction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932C0C0F-F186-9BA0-5E48-A17A12A14AB3}"/>
              </a:ext>
            </a:extLst>
          </p:cNvPr>
          <p:cNvSpPr/>
          <p:nvPr/>
        </p:nvSpPr>
        <p:spPr>
          <a:xfrm>
            <a:off x="410400" y="1054800"/>
            <a:ext cx="6155710" cy="3092823"/>
          </a:xfrm>
          <a:prstGeom prst="roundRect">
            <a:avLst/>
          </a:prstGeom>
          <a:noFill/>
          <a:ln w="5715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E5C85B02-6DA3-BFEC-2BF0-99CECCE70D0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07551" y="1196831"/>
            <a:ext cx="3691218" cy="2364063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72000" tIns="180000" rIns="36000" bIns="180000" anchor="t">
            <a:sp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rgbClr val="32A0A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Wrap tool in a script</a:t>
            </a:r>
          </a:p>
          <a:p>
            <a:pPr marL="171450" lvl="2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efine worker </a:t>
            </a:r>
            <a:r>
              <a:rPr lang="en-US" sz="1400" dirty="0">
                <a:solidFill>
                  <a:schemeClr val="tx1"/>
                </a:solidFill>
                <a:highlight>
                  <a:srgbClr val="FFFF00"/>
                </a:highlight>
                <a:ea typeface="Arial Unicode MS" panose="020B0604020202020204" pitchFamily="34" charset="-128"/>
                <a:cs typeface="Arial Unicode MS" panose="020B0604020202020204" pitchFamily="34" charset="-128"/>
              </a:rPr>
              <a:t>properties</a:t>
            </a:r>
          </a:p>
          <a:p>
            <a:pPr marL="171450" lvl="2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efine worker </a:t>
            </a:r>
            <a:r>
              <a:rPr lang="en-US" sz="1400" dirty="0">
                <a:solidFill>
                  <a:schemeClr val="tx1"/>
                </a:solidFill>
                <a:highlight>
                  <a:srgbClr val="00FF00"/>
                </a:highlight>
                <a:ea typeface="Arial Unicode MS" panose="020B0604020202020204" pitchFamily="34" charset="-128"/>
                <a:cs typeface="Arial Unicode MS" panose="020B0604020202020204" pitchFamily="34" charset="-128"/>
              </a:rPr>
              <a:t>input validation</a:t>
            </a:r>
          </a:p>
          <a:p>
            <a:pPr marL="171450" lvl="2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eady-to-use python library (“worker-lib”)</a:t>
            </a:r>
          </a:p>
          <a:p>
            <a:pPr marL="351450" lvl="3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Backend communication</a:t>
            </a:r>
          </a:p>
          <a:p>
            <a:pPr marL="351450" lvl="3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File handling abstractions</a:t>
            </a:r>
          </a:p>
          <a:p>
            <a:pPr marL="351450" lvl="3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Job management</a:t>
            </a:r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9945CF7E-06DE-F7CB-F0DD-112D557A2990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657147" y="4490015"/>
            <a:ext cx="2839567" cy="1102179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72000" tIns="180000" rIns="36000" bIns="180000" anchor="t">
            <a:sp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accent5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Library registers worker at the backend using JSON schema description</a:t>
            </a:r>
          </a:p>
        </p:txBody>
      </p:sp>
      <p:pic>
        <p:nvPicPr>
          <p:cNvPr id="2052" name="Picture 4" descr="High Quality Logo">
            <a:extLst>
              <a:ext uri="{FF2B5EF4-FFF2-40B4-BE49-F238E27FC236}">
                <a16:creationId xmlns:a16="http://schemas.microsoft.com/office/drawing/2014/main" id="{BE3E77EC-CAD4-F1ED-9124-6AB1D214B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943" y="2062627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131DEE0A-5AA6-691A-242B-D14D281DE55E}"/>
              </a:ext>
            </a:extLst>
          </p:cNvPr>
          <p:cNvSpPr txBox="1"/>
          <p:nvPr/>
        </p:nvSpPr>
        <p:spPr>
          <a:xfrm>
            <a:off x="6809177" y="478800"/>
            <a:ext cx="5091953" cy="6001643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 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title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sam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friendly_name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SAM, SECURITY and </a:t>
            </a:r>
            <a:r>
              <a:rPr lang="de-DE" sz="16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ntds.dit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) </a:t>
            </a:r>
            <a:r>
              <a:rPr lang="de-DE" sz="16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parser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properties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{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 err="1">
                <a:solidFill>
                  <a:srgbClr val="8000FF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sam_hive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{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    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title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SAM Hive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   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    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evidence_type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 err="1">
                <a:solidFill>
                  <a:srgbClr val="8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fileEvidence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    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evidence_filters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[ 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       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8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(?i)[/_-]sam$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     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],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 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},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[…]</a:t>
            </a:r>
            <a:endParaRPr lang="de-DE" sz="16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 err="1">
                <a:solidFill>
                  <a:srgbClr val="8000FF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extra_passwords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{ 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    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type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 err="1">
                <a:solidFill>
                  <a:srgbClr val="8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string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    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description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Additional </a:t>
            </a:r>
          </a:p>
          <a:p>
            <a:r>
              <a:rPr lang="de-DE" sz="1600" dirty="0">
                <a:solidFill>
                  <a:srgbClr val="800000"/>
                </a:solidFill>
                <a:latin typeface="Courier New" panose="02070309020205020404" pitchFamily="49" charset="0"/>
              </a:rPr>
              <a:t>        </a:t>
            </a:r>
            <a:r>
              <a:rPr lang="de-DE" sz="16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passwords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de-DE" sz="16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to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de-DE" sz="16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try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,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 err="1">
                <a:solidFill>
                  <a:srgbClr val="8000FF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brute_force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{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    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type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 err="1">
                <a:solidFill>
                  <a:srgbClr val="8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boolean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    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default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600" b="1" dirty="0" err="1">
                <a:solidFill>
                  <a:srgbClr val="18AF8A"/>
                </a:solidFill>
                <a:effectLst/>
                <a:latin typeface="Courier New" panose="02070309020205020404" pitchFamily="49" charset="0"/>
              </a:rPr>
              <a:t>false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, </a:t>
            </a: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required</a:t>
            </a:r>
            <a:r>
              <a:rPr lang="de-DE" sz="16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[ 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sam_hive</a:t>
            </a:r>
            <a:r>
              <a:rPr lang="de-DE" sz="16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]</a:t>
            </a:r>
          </a:p>
          <a:p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  <a:endParaRPr lang="de-DE" sz="1600" dirty="0">
              <a:effectLst/>
            </a:endParaRPr>
          </a:p>
        </p:txBody>
      </p:sp>
      <p:sp>
        <p:nvSpPr>
          <p:cNvPr id="14" name="Pfeil: gebogen 13">
            <a:extLst>
              <a:ext uri="{FF2B5EF4-FFF2-40B4-BE49-F238E27FC236}">
                <a16:creationId xmlns:a16="http://schemas.microsoft.com/office/drawing/2014/main" id="{45738E32-F950-74A4-2AFC-FD2BE9736610}"/>
              </a:ext>
            </a:extLst>
          </p:cNvPr>
          <p:cNvSpPr/>
          <p:nvPr/>
        </p:nvSpPr>
        <p:spPr>
          <a:xfrm rot="10800000" flipH="1">
            <a:off x="5667160" y="4289654"/>
            <a:ext cx="1189317" cy="1638129"/>
          </a:xfrm>
          <a:prstGeom prst="ben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9432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2376"/>
    </mc:Choice>
    <mc:Fallback>
      <p:transition spd="slow" advTm="32376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Tool Interface: The Worker abstraction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932C0C0F-F186-9BA0-5E48-A17A12A14AB3}"/>
              </a:ext>
            </a:extLst>
          </p:cNvPr>
          <p:cNvSpPr/>
          <p:nvPr/>
        </p:nvSpPr>
        <p:spPr>
          <a:xfrm>
            <a:off x="410400" y="1054800"/>
            <a:ext cx="6155710" cy="3092823"/>
          </a:xfrm>
          <a:prstGeom prst="roundRect">
            <a:avLst/>
          </a:prstGeom>
          <a:noFill/>
          <a:ln w="5715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E5C85B02-6DA3-BFEC-2BF0-99CECCE70D0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07551" y="1196831"/>
            <a:ext cx="3691218" cy="2364063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72000" tIns="180000" rIns="36000" bIns="180000" anchor="t">
            <a:sp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rgbClr val="32A0A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Wrap tool in a script</a:t>
            </a:r>
          </a:p>
          <a:p>
            <a:pPr marL="171450" lvl="2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efine worker properties</a:t>
            </a:r>
          </a:p>
          <a:p>
            <a:pPr marL="171450" lvl="2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efine worker input validation</a:t>
            </a:r>
          </a:p>
          <a:p>
            <a:pPr marL="171450" lvl="2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eady-to-use python library (“worker-lib”)</a:t>
            </a:r>
          </a:p>
          <a:p>
            <a:pPr marL="351450" lvl="3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Backend communication</a:t>
            </a:r>
          </a:p>
          <a:p>
            <a:pPr marL="351450" lvl="3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File handling abstractions</a:t>
            </a:r>
          </a:p>
          <a:p>
            <a:pPr marL="351450" lvl="3" indent="-171450">
              <a:spcBef>
                <a:spcPts val="600"/>
              </a:spcBef>
            </a:pPr>
            <a:r>
              <a:rPr lang="en-US" sz="14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Job management</a:t>
            </a:r>
          </a:p>
        </p:txBody>
      </p:sp>
      <p:sp>
        <p:nvSpPr>
          <p:cNvPr id="14" name="Pfeil: gebogen 13">
            <a:extLst>
              <a:ext uri="{FF2B5EF4-FFF2-40B4-BE49-F238E27FC236}">
                <a16:creationId xmlns:a16="http://schemas.microsoft.com/office/drawing/2014/main" id="{45738E32-F950-74A4-2AFC-FD2BE9736610}"/>
              </a:ext>
            </a:extLst>
          </p:cNvPr>
          <p:cNvSpPr/>
          <p:nvPr/>
        </p:nvSpPr>
        <p:spPr>
          <a:xfrm rot="10800000" flipH="1">
            <a:off x="5667160" y="4289654"/>
            <a:ext cx="1189317" cy="1638129"/>
          </a:xfrm>
          <a:prstGeom prst="ben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3" name="Picture 4" descr="High Quality Logo">
            <a:extLst>
              <a:ext uri="{FF2B5EF4-FFF2-40B4-BE49-F238E27FC236}">
                <a16:creationId xmlns:a16="http://schemas.microsoft.com/office/drawing/2014/main" id="{96BE19FF-3DE2-64F4-3D00-97078C3506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943" y="2062627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4B260667-F6A6-F430-47FB-57BBE86F40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9907" y="504172"/>
            <a:ext cx="4064150" cy="584965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9891FA3-F194-9643-A970-87F01867290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2825" t="57894" r="30652" b="33360"/>
          <a:stretch/>
        </p:blipFill>
        <p:spPr>
          <a:xfrm>
            <a:off x="385264" y="4250323"/>
            <a:ext cx="2421397" cy="135906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2E1AFAE-B97D-B08A-3E42-3575C3DA803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2311" t="62210" r="29521" b="32267"/>
          <a:stretch/>
        </p:blipFill>
        <p:spPr>
          <a:xfrm>
            <a:off x="2581115" y="5321598"/>
            <a:ext cx="2844145" cy="804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0233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1447"/>
    </mc:Choice>
    <mc:Fallback>
      <p:transition spd="slow" advTm="61447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 descr="Slide headline">
            <a:extLst>
              <a:ext uri="{FF2B5EF4-FFF2-40B4-BE49-F238E27FC236}">
                <a16:creationId xmlns:a16="http://schemas.microsoft.com/office/drawing/2014/main" id="{FA780292-C0CC-4592-821D-49442EB40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noProof="0" dirty="0"/>
              <a:t>Agenda</a:t>
            </a:r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8BD53B96-555B-4A23-B598-D2DC9CBA86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mc:AlternateContent xmlns:mc="http://schemas.openxmlformats.org/markup-compatibility/2006">
        <mc:Choice xmlns:psuz="http://schemas.microsoft.com/office/powerpoint/2016/summaryzoom" Requires="psuz">
          <p:graphicFrame>
            <p:nvGraphicFramePr>
              <p:cNvPr id="7" name="Summary Zoom" descr="Automatically generated table of contents">
                <a:extLst>
                  <a:ext uri="{FF2B5EF4-FFF2-40B4-BE49-F238E27FC236}">
                    <a16:creationId xmlns:a16="http://schemas.microsoft.com/office/drawing/2014/main" id="{894F39BB-9840-4FB8-A9D1-94250FBE056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006437753"/>
                  </p:ext>
                </p:extLst>
              </p:nvPr>
            </p:nvGraphicFramePr>
            <p:xfrm>
              <a:off x="0" y="1414464"/>
              <a:ext cx="11787188" cy="4752974"/>
            </p:xfrm>
            <a:graphic>
              <a:graphicData uri="http://schemas.microsoft.com/office/powerpoint/2016/summaryzoom">
                <psuz:summaryZm>
                  <psuz:summaryZmObj sectionId="{7A536B0E-9C41-4BED-9A6E-D4A9D4DFF84A}">
                    <psuz:zmPr id="{DDCEB3E3-2E15-429F-8605-1327444604FF}" transitionDur="100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456754" y="321097"/>
                          <a:ext cx="3536156" cy="1989087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269225A8-1852-4181-8A83-1A2A4AE9D9F5}">
                    <psuz:zmPr id="{0EAE6439-6C67-440D-A1B8-BA0F302E3E6D}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4125516" y="321097"/>
                          <a:ext cx="3536156" cy="1989087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308233D9-0545-4273-B1AB-1ACC065697D5}">
                    <psuz:zmPr id="{3550422A-8301-42AE-AA16-97ACCCD241D4}" transitionDur="100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7794278" y="321097"/>
                          <a:ext cx="3536156" cy="1989087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ED18329F-AB54-4DA7-AB2E-BC3122389682}">
                    <psuz:zmPr id="{513A6FE0-C106-407C-B6E1-9B92FEE55E2C}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456754" y="2442790"/>
                          <a:ext cx="3536156" cy="1989087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BA5D18D2-BBAC-439E-B371-A823DB82EDF5}">
                    <psuz:zmPr id="{3C3161E7-96C1-416A-BBAE-D0E0481A77F9}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4125516" y="2442790"/>
                          <a:ext cx="3536156" cy="1989087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B101D269-4357-40E5-8859-25ED9F08AAF7}">
                    <psuz:zmPr id="{84D0ED2D-7B8F-4B76-80C3-BDFD50FB5AE3}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7794278" y="2442790"/>
                          <a:ext cx="3536156" cy="1989087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gridLayout/>
                </psuz:summaryZm>
              </a:graphicData>
            </a:graphic>
          </p:graphicFrame>
        </mc:Choice>
        <mc:Fallback>
          <p:grpSp>
            <p:nvGrpSpPr>
              <p:cNvPr id="7" name="Summary Zoom" descr="Automatically generated table of contents">
                <a:extLst>
                  <a:ext uri="{FF2B5EF4-FFF2-40B4-BE49-F238E27FC236}">
                    <a16:creationId xmlns:a16="http://schemas.microsoft.com/office/drawing/2014/main" id="{894F39BB-9840-4FB8-A9D1-94250FBE0564}"/>
                  </a:ext>
                </a:extLst>
              </p:cNvPr>
              <p:cNvGrpSpPr>
                <a:grpSpLocks noGrp="1" noUngrp="1" noRot="1" noChangeAspect="1" noMove="1" noResize="1"/>
              </p:cNvGrpSpPr>
              <p:nvPr/>
            </p:nvGrpSpPr>
            <p:grpSpPr>
              <a:xfrm>
                <a:off x="0" y="1414464"/>
                <a:ext cx="11787188" cy="4752974"/>
                <a:chOff x="0" y="1414464"/>
                <a:chExt cx="11787188" cy="4752974"/>
              </a:xfrm>
            </p:grpSpPr>
            <p:pic>
              <p:nvPicPr>
                <p:cNvPr id="5" name="Grafik 5">
                  <a:hlinkClick r:id="rId8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456754" y="1735561"/>
                  <a:ext cx="3536156" cy="1989087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6" name="Grafik 6">
                  <a:hlinkClick r:id="rId9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4125516" y="1735561"/>
                  <a:ext cx="3536156" cy="1989087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8" name="Grafik 8">
                  <a:hlinkClick r:id="rId10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794278" y="1735561"/>
                  <a:ext cx="3536156" cy="1989087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9" name="Grafik 9">
                  <a:hlinkClick r:id="rId11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56754" y="3857254"/>
                  <a:ext cx="3536156" cy="1989087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10" name="Grafik 10">
                  <a:hlinkClick r:id="rId12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125516" y="3857254"/>
                  <a:ext cx="3536156" cy="1989087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11" name="Grafik 11">
                  <a:hlinkClick r:id="rId13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7794278" y="3857254"/>
                  <a:ext cx="3536156" cy="1989087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p:grpSp>
        </mc:Fallback>
      </mc:AlternateContent>
      <p:sp>
        <p:nvSpPr>
          <p:cNvPr id="2" name="Slide Number">
            <a:extLst>
              <a:ext uri="{FF2B5EF4-FFF2-40B4-BE49-F238E27FC236}">
                <a16:creationId xmlns:a16="http://schemas.microsoft.com/office/drawing/2014/main" id="{CF54B220-2AAE-4BF4-B719-B55F4D3786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9449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741"/>
    </mc:Choice>
    <mc:Fallback>
      <p:transition spd="slow" advTm="2741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Puzzleteile Silhouette">
            <a:extLst>
              <a:ext uri="{FF2B5EF4-FFF2-40B4-BE49-F238E27FC236}">
                <a16:creationId xmlns:a16="http://schemas.microsoft.com/office/drawing/2014/main" id="{1D08B6E4-A4B7-A17C-3B01-28174215BB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976997" y="1052187"/>
            <a:ext cx="4753626" cy="4753626"/>
          </a:xfrm>
          <a:prstGeom prst="rect">
            <a:avLst/>
          </a:prstGeom>
        </p:spPr>
      </p:pic>
      <p:sp>
        <p:nvSpPr>
          <p:cNvPr id="5" name="Title" descr="Title of the chapter">
            <a:extLst>
              <a:ext uri="{FF2B5EF4-FFF2-40B4-BE49-F238E27FC236}">
                <a16:creationId xmlns:a16="http://schemas.microsoft.com/office/drawing/2014/main" id="{F640B5D6-DA30-4A72-90BF-4686C1ACCA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3" y="2337991"/>
            <a:ext cx="11376025" cy="1846659"/>
          </a:xfrm>
        </p:spPr>
        <p:txBody>
          <a:bodyPr/>
          <a:lstStyle/>
          <a:p>
            <a:r>
              <a:rPr lang="en-US" noProof="0" dirty="0"/>
              <a:t>Workflows </a:t>
            </a:r>
            <a:br>
              <a:rPr lang="en-US" noProof="0" dirty="0"/>
            </a:br>
            <a:r>
              <a:rPr lang="en-US" b="1" noProof="0" dirty="0"/>
              <a:t>Orchestrate processing</a:t>
            </a:r>
            <a:endParaRPr lang="en-US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219E2082-A671-48FA-BA58-21BFEF63DF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ACCFE235-7738-4971-A010-875207DA8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0190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287"/>
    </mc:Choice>
    <mc:Fallback>
      <p:transition spd="slow" advTm="4287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B679F37-F4CD-86B8-C519-E36FA4A7E0A9}"/>
              </a:ext>
            </a:extLst>
          </p:cNvPr>
          <p:cNvSpPr txBox="1"/>
          <p:nvPr/>
        </p:nvSpPr>
        <p:spPr>
          <a:xfrm>
            <a:off x="410400" y="916300"/>
            <a:ext cx="1137120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Workers are nice, but processing evidence still needs lots of clicking </a:t>
            </a:r>
            <a:r>
              <a:rPr lang="en-GB" dirty="0">
                <a:solidFill>
                  <a:schemeClr val="tx1"/>
                </a:solidFill>
                <a:sym typeface="Wingdings" panose="05000000000000000000" pitchFamily="2" charset="2"/>
              </a:rPr>
              <a:t></a:t>
            </a:r>
          </a:p>
          <a:p>
            <a:pPr algn="l"/>
            <a:endParaRPr lang="en-GB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algn="l"/>
            <a:r>
              <a:rPr lang="en-GB" dirty="0">
                <a:solidFill>
                  <a:schemeClr val="tx1"/>
                </a:solidFill>
                <a:sym typeface="Wingdings" panose="05000000000000000000" pitchFamily="2" charset="2"/>
              </a:rPr>
              <a:t>We want to define comprehensive processing jobs that make use of all our workers: </a:t>
            </a:r>
            <a:r>
              <a:rPr lang="en-GB" dirty="0">
                <a:solidFill>
                  <a:schemeClr val="accent1"/>
                </a:solidFill>
                <a:sym typeface="Wingdings" panose="05000000000000000000" pitchFamily="2" charset="2"/>
              </a:rPr>
              <a:t>Workflows</a:t>
            </a:r>
          </a:p>
        </p:txBody>
      </p:sp>
      <p:graphicFrame>
        <p:nvGraphicFramePr>
          <p:cNvPr id="15" name="Diagramm 14">
            <a:extLst>
              <a:ext uri="{FF2B5EF4-FFF2-40B4-BE49-F238E27FC236}">
                <a16:creationId xmlns:a16="http://schemas.microsoft.com/office/drawing/2014/main" id="{04FB30E8-22FC-9E52-6B44-8E404BF7A6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7157340"/>
              </p:ext>
            </p:extLst>
          </p:nvPr>
        </p:nvGraphicFramePr>
        <p:xfrm>
          <a:off x="3648553" y="2232700"/>
          <a:ext cx="4894893" cy="35329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890081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6012"/>
    </mc:Choice>
    <mc:Fallback>
      <p:transition spd="slow" advTm="76012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E18851-BCC8-3222-B600-1674E8D25DB3}"/>
              </a:ext>
            </a:extLst>
          </p:cNvPr>
          <p:cNvSpPr txBox="1"/>
          <p:nvPr/>
        </p:nvSpPr>
        <p:spPr>
          <a:xfrm>
            <a:off x="410400" y="1054800"/>
            <a:ext cx="4802762" cy="5016758"/>
          </a:xfrm>
          <a:prstGeom prst="rect">
            <a:avLst/>
          </a:prstGeom>
          <a:solidFill>
            <a:srgbClr val="F3F3F0"/>
          </a:solidFill>
        </p:spPr>
        <p:txBody>
          <a:bodyPr wrap="square">
            <a:spAutoFit/>
          </a:bodyPr>
          <a:lstStyle/>
          <a:p>
            <a:r>
              <a:rPr lang="de-DE" sz="16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name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Eventlogs </a:t>
            </a:r>
            <a:r>
              <a:rPr lang="de-DE" sz="16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from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Image</a:t>
            </a:r>
          </a:p>
          <a:p>
            <a:r>
              <a:rPr lang="de-DE" sz="16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_name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6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wf-image_</a:t>
            </a:r>
            <a:r>
              <a:rPr lang="de-DE" sz="1600" dirty="0" err="1">
                <a:solidFill>
                  <a:srgbClr val="000000"/>
                </a:solidFill>
                <a:latin typeface="Courier New" panose="02070309020205020404" pitchFamily="49" charset="0"/>
              </a:rPr>
              <a:t>eventlogs</a:t>
            </a:r>
            <a:endParaRPr lang="de-DE" sz="16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6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ameters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6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600" b="1" dirty="0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- </a:t>
            </a:r>
            <a:r>
              <a:rPr lang="de-DE" sz="16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name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600" dirty="0" err="1">
                <a:solidFill>
                  <a:srgbClr val="0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evidence</a:t>
            </a:r>
            <a:endParaRPr lang="de-DE" sz="1600" dirty="0">
              <a:solidFill>
                <a:srgbClr val="000000"/>
              </a:solidFill>
              <a:highlight>
                <a:srgbClr val="00FF00"/>
              </a:highlight>
              <a:latin typeface="Courier New" panose="02070309020205020404" pitchFamily="49" charset="0"/>
            </a:endParaRPr>
          </a:p>
          <a:p>
            <a:r>
              <a:rPr lang="de-DE" sz="1600" b="1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de-DE" sz="1600" b="1" dirty="0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type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6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multiDiskImageEvidence</a:t>
            </a:r>
            <a:endParaRPr lang="de-DE" sz="16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600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de-DE" sz="1600" b="1" dirty="0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- </a:t>
            </a:r>
            <a:r>
              <a:rPr lang="de-DE" sz="16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name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6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keyfile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  <a:p>
            <a:r>
              <a:rPr lang="de-DE" sz="16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600" b="1" dirty="0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type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6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fileEvidence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sv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</a:t>
            </a:r>
            <a:r>
              <a:rPr lang="de-DE" sz="16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txt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  <a:p>
            <a:r>
              <a:rPr lang="de-DE" sz="16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600" b="1" dirty="0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optional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</a:t>
            </a:r>
            <a:r>
              <a:rPr lang="de-DE" sz="1600" b="1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de-DE" sz="1600" b="1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true</a:t>
            </a:r>
            <a:endParaRPr lang="de-DE" sz="1600" b="1" dirty="0">
              <a:solidFill>
                <a:srgbClr val="0000FF"/>
              </a:solidFill>
              <a:latin typeface="Courier New" panose="02070309020205020404" pitchFamily="49" charset="0"/>
            </a:endParaRPr>
          </a:p>
          <a:p>
            <a:endParaRPr lang="de-DE" sz="1600" b="1" dirty="0">
              <a:solidFill>
                <a:srgbClr val="0000FF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600" b="1" dirty="0" err="1">
                <a:solidFill>
                  <a:srgbClr val="00008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extract_artifacts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6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6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6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artifacts</a:t>
            </a:r>
            <a:endParaRPr lang="de-DE" sz="16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6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6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ameters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</a:t>
            </a:r>
          </a:p>
          <a:p>
            <a:r>
              <a:rPr lang="de-DE" sz="16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6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evidence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"</a:t>
            </a:r>
            <a:r>
              <a:rPr lang="de-DE" sz="1600" dirty="0">
                <a:solidFill>
                  <a:srgbClr val="0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%</a:t>
            </a:r>
            <a:r>
              <a:rPr lang="de-DE" sz="1600" dirty="0" err="1">
                <a:solidFill>
                  <a:srgbClr val="0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evidence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</a:t>
            </a:r>
          </a:p>
          <a:p>
            <a:r>
              <a:rPr lang="de-DE" sz="16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6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artifact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6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SiemensArtifactsAll</a:t>
            </a:r>
            <a:endParaRPr lang="de-DE" sz="16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6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6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keyfile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"%</a:t>
            </a:r>
            <a:r>
              <a:rPr lang="de-DE" sz="16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keyfile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 </a:t>
            </a:r>
          </a:p>
          <a:p>
            <a:endParaRPr lang="de-DE" sz="1600" b="1" dirty="0">
              <a:solidFill>
                <a:srgbClr val="000000"/>
              </a:solidFill>
              <a:latin typeface="Courier New" panose="02070309020205020404" pitchFamily="49" charset="0"/>
            </a:endParaRPr>
          </a:p>
          <a:p>
            <a:r>
              <a:rPr lang="de-DE" sz="16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se_eventlogs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6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6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6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ventlogs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  <a:p>
            <a:r>
              <a:rPr lang="de-DE" sz="16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6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ameters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6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600" b="1" dirty="0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logs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$</a:t>
            </a:r>
            <a:r>
              <a:rPr lang="de-DE" sz="1400" dirty="0" err="1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extract_artifact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</p:txBody>
      </p:sp>
      <p:sp>
        <p:nvSpPr>
          <p:cNvPr id="3" name="Denkblase: wolkenförmig 2">
            <a:extLst>
              <a:ext uri="{FF2B5EF4-FFF2-40B4-BE49-F238E27FC236}">
                <a16:creationId xmlns:a16="http://schemas.microsoft.com/office/drawing/2014/main" id="{2F939899-0B69-ECE8-5892-F90F8B5791E1}"/>
              </a:ext>
            </a:extLst>
          </p:cNvPr>
          <p:cNvSpPr/>
          <p:nvPr/>
        </p:nvSpPr>
        <p:spPr>
          <a:xfrm>
            <a:off x="4931733" y="631332"/>
            <a:ext cx="2812046" cy="999468"/>
          </a:xfrm>
          <a:prstGeom prst="cloudCallout">
            <a:avLst>
              <a:gd name="adj1" fmla="val -85016"/>
              <a:gd name="adj2" fmla="val 625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GB" dirty="0"/>
              <a:t>Workflow parameters (%)</a:t>
            </a:r>
            <a:endParaRPr lang="de-DE" dirty="0"/>
          </a:p>
        </p:txBody>
      </p:sp>
      <p:sp>
        <p:nvSpPr>
          <p:cNvPr id="5" name="Denkblase: wolkenförmig 4">
            <a:extLst>
              <a:ext uri="{FF2B5EF4-FFF2-40B4-BE49-F238E27FC236}">
                <a16:creationId xmlns:a16="http://schemas.microsoft.com/office/drawing/2014/main" id="{247FDB5F-93FD-7659-D795-5E259AE562C3}"/>
              </a:ext>
            </a:extLst>
          </p:cNvPr>
          <p:cNvSpPr/>
          <p:nvPr/>
        </p:nvSpPr>
        <p:spPr>
          <a:xfrm>
            <a:off x="4960857" y="4217727"/>
            <a:ext cx="3035227" cy="1315635"/>
          </a:xfrm>
          <a:prstGeom prst="cloudCallout">
            <a:avLst>
              <a:gd name="adj1" fmla="val -85016"/>
              <a:gd name="adj2" fmla="val 625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GB" dirty="0"/>
              <a:t>Use another stage's output as parameter ($)</a:t>
            </a:r>
            <a:endParaRPr lang="de-DE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693C022F-8A9C-75B4-6FB3-9B85E2987299}"/>
              </a:ext>
            </a:extLst>
          </p:cNvPr>
          <p:cNvGrpSpPr>
            <a:grpSpLocks/>
          </p:cNvGrpSpPr>
          <p:nvPr/>
        </p:nvGrpSpPr>
        <p:grpSpPr>
          <a:xfrm>
            <a:off x="9213194" y="2327186"/>
            <a:ext cx="1348334" cy="2203627"/>
            <a:chOff x="2179830" y="3518604"/>
            <a:chExt cx="1348334" cy="2203627"/>
          </a:xfrm>
        </p:grpSpPr>
        <p:sp>
          <p:nvSpPr>
            <p:cNvPr id="11" name="Hexagon 2">
              <a:extLst>
                <a:ext uri="{FF2B5EF4-FFF2-40B4-BE49-F238E27FC236}">
                  <a16:creationId xmlns:a16="http://schemas.microsoft.com/office/drawing/2014/main" id="{1E740468-2288-25C7-D3D3-AD128F001D3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238285" y="3518604"/>
              <a:ext cx="1231424" cy="845030"/>
            </a:xfrm>
            <a:prstGeom prst="hexagon">
              <a:avLst/>
            </a:prstGeom>
            <a:solidFill>
              <a:srgbClr val="333353"/>
            </a:solidFill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4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artifacts</a:t>
              </a:r>
            </a:p>
          </p:txBody>
        </p:sp>
        <p:sp>
          <p:nvSpPr>
            <p:cNvPr id="12" name="Hexagon 2">
              <a:extLst>
                <a:ext uri="{FF2B5EF4-FFF2-40B4-BE49-F238E27FC236}">
                  <a16:creationId xmlns:a16="http://schemas.microsoft.com/office/drawing/2014/main" id="{7852E1C9-85F9-B3E4-9DED-F14FB007B21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79830" y="4877201"/>
              <a:ext cx="1348334" cy="845030"/>
            </a:xfrm>
            <a:prstGeom prst="hexagon">
              <a:avLst/>
            </a:prstGeom>
            <a:solidFill>
              <a:srgbClr val="333353"/>
            </a:solidFill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400" dirty="0" err="1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eventlogs</a:t>
              </a:r>
              <a:endParaRPr lang="en-US" sz="14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" name="Pfeil: nach unten 15">
              <a:extLst>
                <a:ext uri="{FF2B5EF4-FFF2-40B4-BE49-F238E27FC236}">
                  <a16:creationId xmlns:a16="http://schemas.microsoft.com/office/drawing/2014/main" id="{1288D2CA-EABA-1426-7746-2402546185C1}"/>
                </a:ext>
              </a:extLst>
            </p:cNvPr>
            <p:cNvSpPr>
              <a:spLocks/>
            </p:cNvSpPr>
            <p:nvPr/>
          </p:nvSpPr>
          <p:spPr>
            <a:xfrm>
              <a:off x="2658878" y="4363634"/>
              <a:ext cx="390238" cy="513567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 dirty="0"/>
            </a:p>
          </p:txBody>
        </p:sp>
      </p:grpSp>
      <p:sp>
        <p:nvSpPr>
          <p:cNvPr id="17" name="Denkblase: wolkenförmig 16">
            <a:extLst>
              <a:ext uri="{FF2B5EF4-FFF2-40B4-BE49-F238E27FC236}">
                <a16:creationId xmlns:a16="http://schemas.microsoft.com/office/drawing/2014/main" id="{D904EFD2-4EC1-B598-0D88-86AC6B01E029}"/>
              </a:ext>
            </a:extLst>
          </p:cNvPr>
          <p:cNvSpPr/>
          <p:nvPr/>
        </p:nvSpPr>
        <p:spPr>
          <a:xfrm>
            <a:off x="5692210" y="1998948"/>
            <a:ext cx="3166515" cy="1639871"/>
          </a:xfrm>
          <a:prstGeom prst="cloudCallout">
            <a:avLst>
              <a:gd name="adj1" fmla="val 68835"/>
              <a:gd name="adj2" fmla="val 3515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GB" dirty="0"/>
              <a:t>Execution order and parallelism determined by dependencies</a:t>
            </a:r>
            <a:endParaRPr lang="de-DE" dirty="0"/>
          </a:p>
        </p:txBody>
      </p:sp>
      <p:pic>
        <p:nvPicPr>
          <p:cNvPr id="19" name="Grafik 18" descr="Marke 1 mit einfarbiger Füllung">
            <a:extLst>
              <a:ext uri="{FF2B5EF4-FFF2-40B4-BE49-F238E27FC236}">
                <a16:creationId xmlns:a16="http://schemas.microsoft.com/office/drawing/2014/main" id="{C07E9852-10BF-3DF6-BD68-FD7CCA19A5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92242" y="2327186"/>
            <a:ext cx="364048" cy="364048"/>
          </a:xfrm>
          <a:prstGeom prst="rect">
            <a:avLst/>
          </a:prstGeom>
        </p:spPr>
      </p:pic>
      <p:pic>
        <p:nvPicPr>
          <p:cNvPr id="21" name="Grafik 20" descr="Abzeichen mit einfarbiger Füllung">
            <a:extLst>
              <a:ext uri="{FF2B5EF4-FFF2-40B4-BE49-F238E27FC236}">
                <a16:creationId xmlns:a16="http://schemas.microsoft.com/office/drawing/2014/main" id="{501BB3E4-CCC9-D900-59E7-56BB2AE302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18432" y="3698161"/>
            <a:ext cx="364048" cy="36404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09125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0245"/>
    </mc:Choice>
    <mc:Fallback>
      <p:transition spd="slow" advTm="8024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1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1D2FF34D-6B03-DFFE-99F1-952C61AF240C}"/>
              </a:ext>
            </a:extLst>
          </p:cNvPr>
          <p:cNvSpPr txBox="1"/>
          <p:nvPr/>
        </p:nvSpPr>
        <p:spPr>
          <a:xfrm>
            <a:off x="7641640" y="1107059"/>
            <a:ext cx="4139960" cy="954107"/>
          </a:xfrm>
          <a:prstGeom prst="rect">
            <a:avLst/>
          </a:prstGeom>
          <a:solidFill>
            <a:srgbClr val="F3F3F0"/>
          </a:solidFill>
        </p:spPr>
        <p:txBody>
          <a:bodyPr wrap="square">
            <a:spAutoFit/>
          </a:bodyPr>
          <a:lstStyle/>
          <a:p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se_event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vent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ameter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>
                <a:solidFill>
                  <a:srgbClr val="00008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logs</a:t>
            </a:r>
            <a:r>
              <a:rPr lang="de-DE" sz="140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: </a:t>
            </a:r>
            <a:r>
              <a:rPr lang="de-DE" sz="120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"$</a:t>
            </a:r>
            <a:r>
              <a:rPr lang="de-DE" sz="1200" dirty="0" err="1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extract</a:t>
            </a:r>
            <a:r>
              <a:rPr lang="de-DE" sz="120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7" name="Hexagon 2">
            <a:extLst>
              <a:ext uri="{FF2B5EF4-FFF2-40B4-BE49-F238E27FC236}">
                <a16:creationId xmlns:a16="http://schemas.microsoft.com/office/drawing/2014/main" id="{43087E77-E713-3A52-EEFD-CDB0AD3FFE25}"/>
              </a:ext>
            </a:extLst>
          </p:cNvPr>
          <p:cNvSpPr>
            <a:spLocks noChangeAspect="1"/>
          </p:cNvSpPr>
          <p:nvPr/>
        </p:nvSpPr>
        <p:spPr bwMode="auto">
          <a:xfrm>
            <a:off x="2764377" y="1639704"/>
            <a:ext cx="1231424" cy="845030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4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rtifacts</a:t>
            </a:r>
          </a:p>
        </p:txBody>
      </p:sp>
      <p:sp>
        <p:nvSpPr>
          <p:cNvPr id="13" name="Hexagon 2">
            <a:extLst>
              <a:ext uri="{FF2B5EF4-FFF2-40B4-BE49-F238E27FC236}">
                <a16:creationId xmlns:a16="http://schemas.microsoft.com/office/drawing/2014/main" id="{8BC13826-8ACC-D01B-19A7-8CA3A54F3439}"/>
              </a:ext>
            </a:extLst>
          </p:cNvPr>
          <p:cNvSpPr>
            <a:spLocks noChangeAspect="1"/>
          </p:cNvSpPr>
          <p:nvPr/>
        </p:nvSpPr>
        <p:spPr bwMode="auto">
          <a:xfrm>
            <a:off x="3703371" y="4501581"/>
            <a:ext cx="1348334" cy="845030"/>
          </a:xfrm>
          <a:prstGeom prst="hexagon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400" dirty="0" err="1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ventlogs</a:t>
            </a:r>
            <a:endParaRPr lang="en-US" sz="1400" dirty="0">
              <a:solidFill>
                <a:srgbClr val="32A0A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Hexagon 2">
            <a:extLst>
              <a:ext uri="{FF2B5EF4-FFF2-40B4-BE49-F238E27FC236}">
                <a16:creationId xmlns:a16="http://schemas.microsoft.com/office/drawing/2014/main" id="{C185B1D4-15ED-7B08-BBA2-B22CC002992E}"/>
              </a:ext>
            </a:extLst>
          </p:cNvPr>
          <p:cNvSpPr>
            <a:spLocks noChangeAspect="1"/>
          </p:cNvSpPr>
          <p:nvPr/>
        </p:nvSpPr>
        <p:spPr bwMode="auto">
          <a:xfrm>
            <a:off x="1730013" y="4501581"/>
            <a:ext cx="1231424" cy="845030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400" dirty="0" err="1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am</a:t>
            </a:r>
            <a:endParaRPr lang="en-US" sz="1400" dirty="0">
              <a:solidFill>
                <a:srgbClr val="32A0A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A8E8CA91-5247-BCA5-A58C-4304520B2C74}"/>
              </a:ext>
            </a:extLst>
          </p:cNvPr>
          <p:cNvSpPr/>
          <p:nvPr/>
        </p:nvSpPr>
        <p:spPr>
          <a:xfrm>
            <a:off x="3200399" y="1020874"/>
            <a:ext cx="390238" cy="513567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66B0D913-8FCF-F1CE-0D01-1DF0DC7380B3}"/>
              </a:ext>
            </a:extLst>
          </p:cNvPr>
          <p:cNvSpPr/>
          <p:nvPr/>
        </p:nvSpPr>
        <p:spPr>
          <a:xfrm rot="2700000">
            <a:off x="2417339" y="3943970"/>
            <a:ext cx="390238" cy="513567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17" name="Pfeil: nach unten 16">
            <a:extLst>
              <a:ext uri="{FF2B5EF4-FFF2-40B4-BE49-F238E27FC236}">
                <a16:creationId xmlns:a16="http://schemas.microsoft.com/office/drawing/2014/main" id="{36F0471C-8C10-3217-FC6E-2FF7DF1CD41E}"/>
              </a:ext>
            </a:extLst>
          </p:cNvPr>
          <p:cNvSpPr/>
          <p:nvPr/>
        </p:nvSpPr>
        <p:spPr>
          <a:xfrm rot="18900000">
            <a:off x="3925304" y="3943969"/>
            <a:ext cx="390238" cy="513567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1DF646E-7E60-DF9F-9360-53F07A03C8BF}"/>
              </a:ext>
            </a:extLst>
          </p:cNvPr>
          <p:cNvSpPr txBox="1"/>
          <p:nvPr/>
        </p:nvSpPr>
        <p:spPr>
          <a:xfrm>
            <a:off x="759386" y="2589997"/>
            <a:ext cx="5522416" cy="12926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…</a:t>
            </a:r>
          </a:p>
          <a:p>
            <a:pPr algn="l"/>
            <a:r>
              <a:rPr lang="en-GB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Logs</a:t>
            </a:r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c_windows_system32_winevt_logs_Application.evtx</a:t>
            </a:r>
          </a:p>
          <a:p>
            <a:pPr algn="l"/>
            <a:r>
              <a:rPr lang="en-GB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Files</a:t>
            </a:r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GB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_temp_system</a:t>
            </a:r>
            <a:endParaRPr lang="en-GB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FTMetaFiles</a:t>
            </a:r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GB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_$MFT</a:t>
            </a:r>
            <a:endParaRPr lang="en-GB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Hives</a:t>
            </a:r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c_windows_system32_config_SAM</a:t>
            </a:r>
          </a:p>
          <a:p>
            <a:pPr algn="l"/>
            <a:r>
              <a:rPr lang="en-GB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Hives</a:t>
            </a:r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c_windows_system32_config_System</a:t>
            </a:r>
          </a:p>
          <a:p>
            <a:pPr algn="l"/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…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3F7E466-BE88-B9F2-CFBA-3EBB7210573E}"/>
              </a:ext>
            </a:extLst>
          </p:cNvPr>
          <p:cNvSpPr txBox="1"/>
          <p:nvPr/>
        </p:nvSpPr>
        <p:spPr>
          <a:xfrm>
            <a:off x="11063455" y="1781611"/>
            <a:ext cx="71814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Recipe</a:t>
            </a:r>
            <a:endParaRPr lang="de-DE" dirty="0" err="1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09558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05"/>
    </mc:Choice>
    <mc:Fallback>
      <p:transition spd="slow" advTm="150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9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E18851-BCC8-3222-B600-1674E8D25DB3}"/>
              </a:ext>
            </a:extLst>
          </p:cNvPr>
          <p:cNvSpPr txBox="1"/>
          <p:nvPr/>
        </p:nvSpPr>
        <p:spPr>
          <a:xfrm>
            <a:off x="7641640" y="1107059"/>
            <a:ext cx="4139960" cy="954107"/>
          </a:xfrm>
          <a:prstGeom prst="rect">
            <a:avLst/>
          </a:prstGeom>
          <a:solidFill>
            <a:srgbClr val="F3F3F0"/>
          </a:solidFill>
        </p:spPr>
        <p:txBody>
          <a:bodyPr wrap="square">
            <a:spAutoFit/>
          </a:bodyPr>
          <a:lstStyle/>
          <a:p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se_event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vent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ameter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>
                <a:solidFill>
                  <a:srgbClr val="00008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logs</a:t>
            </a:r>
            <a:r>
              <a:rPr lang="de-DE" sz="140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: </a:t>
            </a:r>
            <a:r>
              <a:rPr lang="de-DE" sz="120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"$</a:t>
            </a:r>
            <a:r>
              <a:rPr lang="de-DE" sz="1200" dirty="0" err="1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extract</a:t>
            </a:r>
            <a:r>
              <a:rPr lang="de-DE" sz="120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</p:txBody>
      </p:sp>
      <p:sp>
        <p:nvSpPr>
          <p:cNvPr id="7" name="Hexagon 2">
            <a:extLst>
              <a:ext uri="{FF2B5EF4-FFF2-40B4-BE49-F238E27FC236}">
                <a16:creationId xmlns:a16="http://schemas.microsoft.com/office/drawing/2014/main" id="{43087E77-E713-3A52-EEFD-CDB0AD3FFE25}"/>
              </a:ext>
            </a:extLst>
          </p:cNvPr>
          <p:cNvSpPr>
            <a:spLocks noChangeAspect="1"/>
          </p:cNvSpPr>
          <p:nvPr/>
        </p:nvSpPr>
        <p:spPr bwMode="auto">
          <a:xfrm>
            <a:off x="2764377" y="1639704"/>
            <a:ext cx="1231424" cy="845030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4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rtifacts</a:t>
            </a:r>
          </a:p>
        </p:txBody>
      </p:sp>
      <p:sp>
        <p:nvSpPr>
          <p:cNvPr id="13" name="Hexagon 2">
            <a:extLst>
              <a:ext uri="{FF2B5EF4-FFF2-40B4-BE49-F238E27FC236}">
                <a16:creationId xmlns:a16="http://schemas.microsoft.com/office/drawing/2014/main" id="{8BC13826-8ACC-D01B-19A7-8CA3A54F3439}"/>
              </a:ext>
            </a:extLst>
          </p:cNvPr>
          <p:cNvSpPr>
            <a:spLocks noChangeAspect="1"/>
          </p:cNvSpPr>
          <p:nvPr/>
        </p:nvSpPr>
        <p:spPr bwMode="auto">
          <a:xfrm>
            <a:off x="3703371" y="4501581"/>
            <a:ext cx="1348334" cy="845030"/>
          </a:xfrm>
          <a:prstGeom prst="hexagon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400" dirty="0" err="1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ventlogs</a:t>
            </a:r>
            <a:endParaRPr lang="en-US" sz="1400" dirty="0">
              <a:solidFill>
                <a:srgbClr val="32A0A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Hexagon 2">
            <a:extLst>
              <a:ext uri="{FF2B5EF4-FFF2-40B4-BE49-F238E27FC236}">
                <a16:creationId xmlns:a16="http://schemas.microsoft.com/office/drawing/2014/main" id="{C185B1D4-15ED-7B08-BBA2-B22CC002992E}"/>
              </a:ext>
            </a:extLst>
          </p:cNvPr>
          <p:cNvSpPr>
            <a:spLocks noChangeAspect="1"/>
          </p:cNvSpPr>
          <p:nvPr/>
        </p:nvSpPr>
        <p:spPr bwMode="auto">
          <a:xfrm>
            <a:off x="1730013" y="4501581"/>
            <a:ext cx="1231424" cy="845030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400" dirty="0" err="1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am</a:t>
            </a:r>
            <a:endParaRPr lang="en-US" sz="1400" dirty="0">
              <a:solidFill>
                <a:srgbClr val="32A0A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A8E8CA91-5247-BCA5-A58C-4304520B2C74}"/>
              </a:ext>
            </a:extLst>
          </p:cNvPr>
          <p:cNvSpPr/>
          <p:nvPr/>
        </p:nvSpPr>
        <p:spPr>
          <a:xfrm>
            <a:off x="3200399" y="1020874"/>
            <a:ext cx="390238" cy="513567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66B0D913-8FCF-F1CE-0D01-1DF0DC7380B3}"/>
              </a:ext>
            </a:extLst>
          </p:cNvPr>
          <p:cNvSpPr/>
          <p:nvPr/>
        </p:nvSpPr>
        <p:spPr>
          <a:xfrm rot="2700000">
            <a:off x="2417339" y="3943970"/>
            <a:ext cx="390238" cy="513567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17" name="Pfeil: nach unten 16">
            <a:extLst>
              <a:ext uri="{FF2B5EF4-FFF2-40B4-BE49-F238E27FC236}">
                <a16:creationId xmlns:a16="http://schemas.microsoft.com/office/drawing/2014/main" id="{36F0471C-8C10-3217-FC6E-2FF7DF1CD41E}"/>
              </a:ext>
            </a:extLst>
          </p:cNvPr>
          <p:cNvSpPr/>
          <p:nvPr/>
        </p:nvSpPr>
        <p:spPr>
          <a:xfrm rot="18900000">
            <a:off x="3925304" y="3943969"/>
            <a:ext cx="390238" cy="513567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1DF646E-7E60-DF9F-9360-53F07A03C8BF}"/>
              </a:ext>
            </a:extLst>
          </p:cNvPr>
          <p:cNvSpPr txBox="1"/>
          <p:nvPr/>
        </p:nvSpPr>
        <p:spPr>
          <a:xfrm>
            <a:off x="759386" y="2589997"/>
            <a:ext cx="5522416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…</a:t>
            </a:r>
          </a:p>
          <a:p>
            <a:pPr algn="l"/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EventLogs</a:t>
            </a:r>
            <a:r>
              <a:rPr lang="en-GB" sz="1200" dirty="0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c_windows_system32_winevt_logs_Application.evtx</a:t>
            </a:r>
          </a:p>
          <a:p>
            <a:pPr algn="l"/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gFiles</a:t>
            </a:r>
            <a:r>
              <a:rPr lang="en-GB" sz="1200" dirty="0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_temp_system</a:t>
            </a:r>
            <a:endParaRPr lang="en-GB" sz="1200" dirty="0">
              <a:solidFill>
                <a:schemeClr val="tx1"/>
              </a:solidFill>
              <a:highlight>
                <a:srgbClr val="FFFF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FTMetaFiles</a:t>
            </a:r>
            <a:r>
              <a:rPr lang="en-GB" sz="1200" dirty="0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_$MFT</a:t>
            </a:r>
            <a:endParaRPr lang="en-GB" sz="1200" dirty="0">
              <a:solidFill>
                <a:schemeClr val="tx1"/>
              </a:solidFill>
              <a:highlight>
                <a:srgbClr val="FFFF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egistryHives</a:t>
            </a:r>
            <a:r>
              <a:rPr lang="en-GB" sz="1200" dirty="0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c_windows_system32_config_SAM</a:t>
            </a:r>
          </a:p>
          <a:p>
            <a:pPr algn="l"/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egistryHives</a:t>
            </a:r>
            <a:r>
              <a:rPr lang="en-GB" sz="1200" dirty="0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c_windows_system32_config_System</a:t>
            </a:r>
          </a:p>
          <a:p>
            <a:pPr algn="l"/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…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3F7E466-BE88-B9F2-CFBA-3EBB7210573E}"/>
              </a:ext>
            </a:extLst>
          </p:cNvPr>
          <p:cNvSpPr txBox="1"/>
          <p:nvPr/>
        </p:nvSpPr>
        <p:spPr>
          <a:xfrm>
            <a:off x="11063455" y="1799154"/>
            <a:ext cx="71814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Recipe</a:t>
            </a:r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3765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436"/>
    </mc:Choice>
    <mc:Fallback>
      <p:transition spd="slow" advTm="14436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E18851-BCC8-3222-B600-1674E8D25DB3}"/>
              </a:ext>
            </a:extLst>
          </p:cNvPr>
          <p:cNvSpPr txBox="1"/>
          <p:nvPr/>
        </p:nvSpPr>
        <p:spPr>
          <a:xfrm>
            <a:off x="7641640" y="1107059"/>
            <a:ext cx="4139960" cy="954107"/>
          </a:xfrm>
          <a:prstGeom prst="rect">
            <a:avLst/>
          </a:prstGeom>
          <a:solidFill>
            <a:srgbClr val="F3F3F0"/>
          </a:solidFill>
        </p:spPr>
        <p:txBody>
          <a:bodyPr wrap="square">
            <a:spAutoFit/>
          </a:bodyPr>
          <a:lstStyle/>
          <a:p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se_event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vent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ameter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>
                <a:solidFill>
                  <a:srgbClr val="00008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logs</a:t>
            </a:r>
            <a:r>
              <a:rPr lang="de-DE" sz="140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: </a:t>
            </a:r>
            <a:r>
              <a:rPr lang="de-DE" sz="120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"$</a:t>
            </a:r>
            <a:r>
              <a:rPr lang="de-DE" sz="1200" dirty="0" err="1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extract</a:t>
            </a:r>
            <a:r>
              <a:rPr lang="de-DE" sz="120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</p:txBody>
      </p:sp>
      <p:sp>
        <p:nvSpPr>
          <p:cNvPr id="7" name="Hexagon 2">
            <a:extLst>
              <a:ext uri="{FF2B5EF4-FFF2-40B4-BE49-F238E27FC236}">
                <a16:creationId xmlns:a16="http://schemas.microsoft.com/office/drawing/2014/main" id="{43087E77-E713-3A52-EEFD-CDB0AD3FFE25}"/>
              </a:ext>
            </a:extLst>
          </p:cNvPr>
          <p:cNvSpPr>
            <a:spLocks noChangeAspect="1"/>
          </p:cNvSpPr>
          <p:nvPr/>
        </p:nvSpPr>
        <p:spPr bwMode="auto">
          <a:xfrm>
            <a:off x="2764377" y="1639704"/>
            <a:ext cx="1231424" cy="845030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4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rtifacts</a:t>
            </a:r>
          </a:p>
        </p:txBody>
      </p:sp>
      <p:sp>
        <p:nvSpPr>
          <p:cNvPr id="13" name="Hexagon 2">
            <a:extLst>
              <a:ext uri="{FF2B5EF4-FFF2-40B4-BE49-F238E27FC236}">
                <a16:creationId xmlns:a16="http://schemas.microsoft.com/office/drawing/2014/main" id="{8BC13826-8ACC-D01B-19A7-8CA3A54F3439}"/>
              </a:ext>
            </a:extLst>
          </p:cNvPr>
          <p:cNvSpPr>
            <a:spLocks noChangeAspect="1"/>
          </p:cNvSpPr>
          <p:nvPr/>
        </p:nvSpPr>
        <p:spPr bwMode="auto">
          <a:xfrm>
            <a:off x="3703371" y="4501581"/>
            <a:ext cx="1348334" cy="845030"/>
          </a:xfrm>
          <a:prstGeom prst="hexagon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400" dirty="0" err="1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ventlogs</a:t>
            </a:r>
            <a:endParaRPr lang="en-US" sz="1400" dirty="0">
              <a:solidFill>
                <a:srgbClr val="32A0A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Hexagon 2">
            <a:extLst>
              <a:ext uri="{FF2B5EF4-FFF2-40B4-BE49-F238E27FC236}">
                <a16:creationId xmlns:a16="http://schemas.microsoft.com/office/drawing/2014/main" id="{C185B1D4-15ED-7B08-BBA2-B22CC002992E}"/>
              </a:ext>
            </a:extLst>
          </p:cNvPr>
          <p:cNvSpPr>
            <a:spLocks noChangeAspect="1"/>
          </p:cNvSpPr>
          <p:nvPr/>
        </p:nvSpPr>
        <p:spPr bwMode="auto">
          <a:xfrm>
            <a:off x="1730013" y="4501581"/>
            <a:ext cx="1231424" cy="845030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400" dirty="0" err="1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am</a:t>
            </a:r>
            <a:endParaRPr lang="en-US" sz="1400" dirty="0">
              <a:solidFill>
                <a:srgbClr val="32A0A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A8E8CA91-5247-BCA5-A58C-4304520B2C74}"/>
              </a:ext>
            </a:extLst>
          </p:cNvPr>
          <p:cNvSpPr/>
          <p:nvPr/>
        </p:nvSpPr>
        <p:spPr>
          <a:xfrm>
            <a:off x="3200399" y="1020874"/>
            <a:ext cx="390238" cy="513567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66B0D913-8FCF-F1CE-0D01-1DF0DC7380B3}"/>
              </a:ext>
            </a:extLst>
          </p:cNvPr>
          <p:cNvSpPr/>
          <p:nvPr/>
        </p:nvSpPr>
        <p:spPr>
          <a:xfrm rot="2700000">
            <a:off x="2417339" y="3943970"/>
            <a:ext cx="390238" cy="513567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17" name="Pfeil: nach unten 16">
            <a:extLst>
              <a:ext uri="{FF2B5EF4-FFF2-40B4-BE49-F238E27FC236}">
                <a16:creationId xmlns:a16="http://schemas.microsoft.com/office/drawing/2014/main" id="{36F0471C-8C10-3217-FC6E-2FF7DF1CD41E}"/>
              </a:ext>
            </a:extLst>
          </p:cNvPr>
          <p:cNvSpPr/>
          <p:nvPr/>
        </p:nvSpPr>
        <p:spPr>
          <a:xfrm rot="18900000">
            <a:off x="3925304" y="3943969"/>
            <a:ext cx="390238" cy="513567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1DF646E-7E60-DF9F-9360-53F07A03C8BF}"/>
              </a:ext>
            </a:extLst>
          </p:cNvPr>
          <p:cNvSpPr txBox="1"/>
          <p:nvPr/>
        </p:nvSpPr>
        <p:spPr>
          <a:xfrm>
            <a:off x="759386" y="2589997"/>
            <a:ext cx="5522416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…</a:t>
            </a:r>
          </a:p>
          <a:p>
            <a:pPr algn="l"/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EventLogs</a:t>
            </a:r>
            <a:r>
              <a:rPr lang="en-GB" sz="1200" dirty="0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c_windows_system32_winevt_logs_Application</a:t>
            </a:r>
            <a:r>
              <a:rPr lang="en-GB" sz="1200" dirty="0">
                <a:solidFill>
                  <a:schemeClr val="tx1"/>
                </a:solidFill>
                <a:highlight>
                  <a:srgbClr val="00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evtx</a:t>
            </a:r>
          </a:p>
          <a:p>
            <a:pPr algn="l"/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gFiles</a:t>
            </a:r>
            <a:r>
              <a:rPr lang="en-GB" sz="1200" dirty="0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_temp_system</a:t>
            </a:r>
            <a:endParaRPr lang="en-GB" sz="1200" dirty="0">
              <a:solidFill>
                <a:schemeClr val="tx1"/>
              </a:solidFill>
              <a:highlight>
                <a:srgbClr val="FFFF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FTMetaFiles</a:t>
            </a:r>
            <a:r>
              <a:rPr lang="en-GB" sz="1200" dirty="0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_$MFT</a:t>
            </a:r>
            <a:endParaRPr lang="en-GB" sz="1200" dirty="0">
              <a:solidFill>
                <a:schemeClr val="tx1"/>
              </a:solidFill>
              <a:highlight>
                <a:srgbClr val="FFFF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egistryHives</a:t>
            </a:r>
            <a:r>
              <a:rPr lang="en-GB" sz="1200" dirty="0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c_windows_system32_config_SAM</a:t>
            </a:r>
          </a:p>
          <a:p>
            <a:pPr algn="l"/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egistryHives</a:t>
            </a:r>
            <a:r>
              <a:rPr lang="en-GB" sz="1200" dirty="0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c_windows_system32_config_System</a:t>
            </a:r>
          </a:p>
          <a:p>
            <a:pPr algn="l"/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…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45271C7-2EDC-6109-2405-8BB24BB158A8}"/>
              </a:ext>
            </a:extLst>
          </p:cNvPr>
          <p:cNvSpPr txBox="1"/>
          <p:nvPr/>
        </p:nvSpPr>
        <p:spPr>
          <a:xfrm>
            <a:off x="7641640" y="2368139"/>
            <a:ext cx="4139960" cy="3108543"/>
          </a:xfrm>
          <a:prstGeom prst="rect">
            <a:avLst/>
          </a:prstGeom>
          <a:solidFill>
            <a:srgbClr val="F3F3F0"/>
          </a:solidFill>
        </p:spPr>
        <p:txBody>
          <a:bodyPr wrap="square">
            <a:spAutoFit/>
          </a:bodyPr>
          <a:lstStyle/>
          <a:p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title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eventlogs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friendly_name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EVT(X) </a:t>
            </a:r>
            <a:r>
              <a:rPr lang="de-DE" sz="14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parser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</a:t>
            </a:r>
            <a:endParaRPr lang="de-DE" sz="1400" dirty="0">
              <a:solidFill>
                <a:srgbClr val="8000FF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dirty="0">
                <a:solidFill>
                  <a:srgbClr val="8000FF"/>
                </a:solidFill>
                <a:latin typeface="Courier New" panose="02070309020205020404" pitchFamily="49" charset="0"/>
              </a:rPr>
              <a:t>  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category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reporting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properties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{ 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logs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{ 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evidence_type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anyEvidence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    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evidence_filters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[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de-DE" sz="1400" dirty="0">
                <a:solidFill>
                  <a:srgbClr val="8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"(?i)</a:t>
            </a:r>
            <a:r>
              <a:rPr lang="de-DE" sz="1400" b="1" dirty="0">
                <a:solidFill>
                  <a:srgbClr val="0000FF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\\</a:t>
            </a:r>
            <a:r>
              <a:rPr lang="de-DE" sz="1400" dirty="0">
                <a:solidFill>
                  <a:srgbClr val="8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.(</a:t>
            </a:r>
            <a:r>
              <a:rPr lang="de-DE" sz="1400" dirty="0" err="1">
                <a:solidFill>
                  <a:srgbClr val="8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evt|evtx|xml</a:t>
            </a:r>
            <a:r>
              <a:rPr lang="de-DE" sz="1400" dirty="0">
                <a:solidFill>
                  <a:srgbClr val="8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)$"</a:t>
            </a:r>
          </a:p>
          <a:p>
            <a:r>
              <a:rPr lang="de-DE" sz="1400" dirty="0">
                <a:solidFill>
                  <a:srgbClr val="800000"/>
                </a:solidFill>
                <a:latin typeface="Courier New" panose="02070309020205020404" pitchFamily="49" charset="0"/>
              </a:rPr>
              <a:t>     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],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,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required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[ 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logs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]</a:t>
            </a:r>
          </a:p>
          <a:p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  <a:endParaRPr lang="de-DE" sz="1400" dirty="0">
              <a:effectLst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BD83C5D-4CB8-FE6A-8EF7-8499A1321CCE}"/>
              </a:ext>
            </a:extLst>
          </p:cNvPr>
          <p:cNvSpPr txBox="1"/>
          <p:nvPr/>
        </p:nvSpPr>
        <p:spPr>
          <a:xfrm>
            <a:off x="10127301" y="5199683"/>
            <a:ext cx="165429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Worker vacancy</a:t>
            </a: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3F7E466-BE88-B9F2-CFBA-3EBB7210573E}"/>
              </a:ext>
            </a:extLst>
          </p:cNvPr>
          <p:cNvSpPr txBox="1"/>
          <p:nvPr/>
        </p:nvSpPr>
        <p:spPr>
          <a:xfrm>
            <a:off x="11063455" y="1799154"/>
            <a:ext cx="71814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Recipe</a:t>
            </a: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0" name="Additionszeichen 19">
            <a:extLst>
              <a:ext uri="{FF2B5EF4-FFF2-40B4-BE49-F238E27FC236}">
                <a16:creationId xmlns:a16="http://schemas.microsoft.com/office/drawing/2014/main" id="{A5BDFCE6-0858-20C6-71DF-57161E77F46E}"/>
              </a:ext>
            </a:extLst>
          </p:cNvPr>
          <p:cNvSpPr/>
          <p:nvPr/>
        </p:nvSpPr>
        <p:spPr>
          <a:xfrm>
            <a:off x="9600860" y="2104883"/>
            <a:ext cx="221520" cy="205439"/>
          </a:xfrm>
          <a:prstGeom prst="mathPlus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11" name="Legende: mit Pfeil nach links 10">
            <a:extLst>
              <a:ext uri="{FF2B5EF4-FFF2-40B4-BE49-F238E27FC236}">
                <a16:creationId xmlns:a16="http://schemas.microsoft.com/office/drawing/2014/main" id="{EE297D20-8C6C-B17C-65F3-1B57CDC084B3}"/>
              </a:ext>
            </a:extLst>
          </p:cNvPr>
          <p:cNvSpPr/>
          <p:nvPr/>
        </p:nvSpPr>
        <p:spPr>
          <a:xfrm>
            <a:off x="6469378" y="1107059"/>
            <a:ext cx="1122502" cy="4369623"/>
          </a:xfrm>
          <a:prstGeom prst="leftArrowCallou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E79E003-0E0B-D4A7-1A32-DD79693878A8}"/>
              </a:ext>
            </a:extLst>
          </p:cNvPr>
          <p:cNvSpPr txBox="1"/>
          <p:nvPr/>
        </p:nvSpPr>
        <p:spPr>
          <a:xfrm>
            <a:off x="410400" y="5809054"/>
            <a:ext cx="1033616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We use the same process for the second job that also consumes this output, running them in parallel.</a:t>
            </a:r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8749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4405"/>
    </mc:Choice>
    <mc:Fallback>
      <p:transition spd="slow" advTm="44405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86DA499-06A1-2B50-D1BF-86EAC28DCF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939" y="281836"/>
            <a:ext cx="7428122" cy="5981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2258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4107"/>
    </mc:Choice>
    <mc:Fallback>
      <p:transition spd="slow" advTm="44107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Cursor Silhouette">
            <a:extLst>
              <a:ext uri="{FF2B5EF4-FFF2-40B4-BE49-F238E27FC236}">
                <a16:creationId xmlns:a16="http://schemas.microsoft.com/office/drawing/2014/main" id="{47E42E7F-9C1B-29A9-004E-CD995C4C5B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976997" y="1052187"/>
            <a:ext cx="4753626" cy="4753626"/>
          </a:xfrm>
          <a:prstGeom prst="rect">
            <a:avLst/>
          </a:prstGeom>
        </p:spPr>
      </p:pic>
      <p:sp>
        <p:nvSpPr>
          <p:cNvPr id="5" name="Title" descr="Title of the chapter">
            <a:extLst>
              <a:ext uri="{FF2B5EF4-FFF2-40B4-BE49-F238E27FC236}">
                <a16:creationId xmlns:a16="http://schemas.microsoft.com/office/drawing/2014/main" id="{F640B5D6-DA30-4A72-90BF-4686C1ACCA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3" y="2337991"/>
            <a:ext cx="11376025" cy="1846659"/>
          </a:xfrm>
        </p:spPr>
        <p:txBody>
          <a:bodyPr/>
          <a:lstStyle/>
          <a:p>
            <a:r>
              <a:rPr lang="en-US" noProof="0" dirty="0"/>
              <a:t>User Interface </a:t>
            </a:r>
            <a:br>
              <a:rPr lang="en-US" noProof="0" dirty="0"/>
            </a:br>
            <a:r>
              <a:rPr lang="en-US" b="1" noProof="0" dirty="0"/>
              <a:t>Alert, Analyze, Document</a:t>
            </a:r>
            <a:endParaRPr lang="en-US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219E2082-A671-48FA-BA58-21BFEF63DF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ACCFE235-7738-4971-A010-875207DA8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7286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896"/>
    </mc:Choice>
    <mc:Fallback>
      <p:transition spd="slow" advTm="3896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Interface: Philosophy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5" name="Rectangle 143">
            <a:extLst>
              <a:ext uri="{FF2B5EF4-FFF2-40B4-BE49-F238E27FC236}">
                <a16:creationId xmlns:a16="http://schemas.microsoft.com/office/drawing/2014/main" id="{1C5FE09E-2561-D1D6-73B5-616A096CE3CE}"/>
              </a:ext>
            </a:extLst>
          </p:cNvPr>
          <p:cNvSpPr/>
          <p:nvPr/>
        </p:nvSpPr>
        <p:spPr bwMode="auto">
          <a:xfrm>
            <a:off x="410400" y="1054800"/>
            <a:ext cx="11371200" cy="5184269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square" lIns="0" tIns="54000" rIns="0" bIns="54000" numCol="1" spcCol="72000" rtlCol="0" anchor="t">
            <a:noAutofit/>
          </a:bodyPr>
          <a:lstStyle/>
          <a:p>
            <a:pPr>
              <a:spcBef>
                <a:spcPts val="900"/>
              </a:spcBef>
              <a:spcAft>
                <a:spcPts val="300"/>
              </a:spcAft>
            </a:pPr>
            <a:r>
              <a:rPr lang="en-US" sz="1400" dirty="0">
                <a:solidFill>
                  <a:srgbClr val="32A0A0"/>
                </a:solidFill>
              </a:rPr>
              <a:t>Data centric</a:t>
            </a:r>
            <a:endParaRPr lang="en-US" sz="1400" dirty="0">
              <a:solidFill>
                <a:schemeClr val="tx1"/>
              </a:solidFill>
            </a:endParaRP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Different types of data need different views</a:t>
            </a:r>
          </a:p>
          <a:p>
            <a:pPr marL="396000" lvl="2" indent="-144000"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/>
                </a:solidFill>
              </a:rPr>
              <a:t>Timelines</a:t>
            </a:r>
          </a:p>
          <a:p>
            <a:pPr marL="396000" lvl="2" indent="-144000"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/>
                </a:solidFill>
              </a:rPr>
              <a:t>Trees</a:t>
            </a:r>
          </a:p>
          <a:p>
            <a:pPr marL="396000" lvl="2" indent="-144000"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/>
                </a:solidFill>
              </a:rPr>
              <a:t>Tables</a:t>
            </a:r>
          </a:p>
          <a:p>
            <a:pPr marL="396000" lvl="2" indent="-144000"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/>
                </a:solidFill>
              </a:rPr>
              <a:t>Markdown</a:t>
            </a:r>
          </a:p>
          <a:p>
            <a:pPr marL="396000" lvl="2" indent="-144000"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/>
                </a:solidFill>
              </a:rPr>
              <a:t>Plain Text</a:t>
            </a: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Ability to filter and search</a:t>
            </a:r>
            <a:endParaRPr lang="en-US" sz="1400" dirty="0">
              <a:solidFill>
                <a:srgbClr val="32A0A0"/>
              </a:solidFill>
            </a:endParaRPr>
          </a:p>
          <a:p>
            <a:pPr marL="0" lvl="1" indent="0">
              <a:spcBef>
                <a:spcPts val="900"/>
              </a:spcBef>
              <a:spcAft>
                <a:spcPts val="300"/>
              </a:spcAft>
              <a:buNone/>
            </a:pPr>
            <a:endParaRPr lang="en-US" sz="100" dirty="0">
              <a:solidFill>
                <a:srgbClr val="32A0A0"/>
              </a:solidFill>
            </a:endParaRPr>
          </a:p>
          <a:p>
            <a:pPr marL="0" lvl="1" indent="0">
              <a:spcBef>
                <a:spcPts val="900"/>
              </a:spcBef>
              <a:spcAft>
                <a:spcPts val="300"/>
              </a:spcAft>
              <a:buNone/>
            </a:pPr>
            <a:r>
              <a:rPr lang="en-US" sz="1400" dirty="0">
                <a:solidFill>
                  <a:srgbClr val="32A0A0"/>
                </a:solidFill>
              </a:rPr>
              <a:t>Documentation</a:t>
            </a: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eamless way to document findings while investigating</a:t>
            </a: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"Document what you see"</a:t>
            </a:r>
            <a:br>
              <a:rPr lang="en-US" sz="1400" dirty="0">
                <a:solidFill>
                  <a:schemeClr val="tx1"/>
                </a:solidFill>
              </a:rPr>
            </a:br>
            <a:endParaRPr lang="en-US" sz="1400" dirty="0">
              <a:solidFill>
                <a:srgbClr val="32A0A0"/>
              </a:solidFill>
            </a:endParaRP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rgbClr val="32A0A0"/>
                </a:solidFill>
              </a:rPr>
              <a:t>Convention over configuration</a:t>
            </a: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Worker output that contains "</a:t>
            </a:r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result.</a:t>
            </a:r>
            <a:r>
              <a:rPr lang="en-US" sz="1400" dirty="0">
                <a:solidFill>
                  <a:schemeClr val="tx1"/>
                </a:solidFill>
              </a:rPr>
              <a:t>" in its name will be displayed for the asset it belongs to</a:t>
            </a: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"</a:t>
            </a:r>
            <a:r>
              <a:rPr lang="en-US" sz="14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report.</a:t>
            </a:r>
            <a:r>
              <a:rPr lang="en-US" sz="1400" dirty="0">
                <a:solidFill>
                  <a:schemeClr val="tx1"/>
                </a:solidFill>
              </a:rPr>
              <a:t>" is treated as an alert and displayed prominently</a:t>
            </a:r>
          </a:p>
          <a:p>
            <a:pPr marL="216000" lvl="1" indent="-144000">
              <a:spcBef>
                <a:spcPts val="1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View type determined by file extension</a:t>
            </a:r>
          </a:p>
          <a:p>
            <a:pPr marL="72000" lvl="1" indent="0">
              <a:spcBef>
                <a:spcPts val="300"/>
              </a:spcBef>
              <a:spcAft>
                <a:spcPts val="300"/>
              </a:spcAft>
              <a:buNone/>
            </a:pP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0528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Interface: Impression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9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01E1F07-4BFF-1EC0-8312-01489F5F24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215" y="824273"/>
            <a:ext cx="10979569" cy="555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7232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3051"/>
    </mc:Choice>
    <mc:Fallback>
      <p:transition spd="slow" advTm="3305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Title of the chapter">
            <a:extLst>
              <a:ext uri="{FF2B5EF4-FFF2-40B4-BE49-F238E27FC236}">
                <a16:creationId xmlns:a16="http://schemas.microsoft.com/office/drawing/2014/main" id="{F640B5D6-DA30-4A72-90BF-4686C1ACCA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3" y="2337991"/>
            <a:ext cx="11376025" cy="1846659"/>
          </a:xfrm>
        </p:spPr>
        <p:txBody>
          <a:bodyPr/>
          <a:lstStyle/>
          <a:p>
            <a:r>
              <a:rPr lang="en-US" noProof="0" dirty="0"/>
              <a:t>Intro </a:t>
            </a:r>
            <a:br>
              <a:rPr lang="en-US" noProof="0" dirty="0"/>
            </a:br>
            <a:r>
              <a:rPr lang="en-US" b="1" noProof="0" dirty="0"/>
              <a:t>Digital Forensics at CERT</a:t>
            </a:r>
            <a:endParaRPr lang="en-US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219E2082-A671-48FA-BA58-21BFEF63DF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ACCFE235-7738-4971-A010-875207DA8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1083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546"/>
    </mc:Choice>
    <mc:Fallback>
      <p:transition spd="slow" advTm="3546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Interface: Impression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01E1F07-4BFF-1EC0-8312-01489F5F249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06215" y="824273"/>
            <a:ext cx="10979568" cy="555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5537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8715"/>
    </mc:Choice>
    <mc:Fallback>
      <p:transition spd="slow" advTm="48715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Interface: Impression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01E1F07-4BFF-1EC0-8312-01489F5F249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06215" y="824273"/>
            <a:ext cx="10979568" cy="555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191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2800"/>
    </mc:Choice>
    <mc:Fallback>
      <p:transition spd="slow" advTm="42800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Interface: Impression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01E1F07-4BFF-1EC0-8312-01489F5F249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06216" y="824273"/>
            <a:ext cx="10979566" cy="555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2374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135"/>
    </mc:Choice>
    <mc:Fallback>
      <p:transition spd="slow" advTm="14135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Interface: Impression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33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01E1F07-4BFF-1EC0-8312-01489F5F249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06216" y="824273"/>
            <a:ext cx="10979566" cy="555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356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538"/>
    </mc:Choice>
    <mc:Fallback>
      <p:transition spd="slow" advTm="15538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Interface: Impression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34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01E1F07-4BFF-1EC0-8312-01489F5F249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06217" y="824273"/>
            <a:ext cx="10979564" cy="555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5646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2154"/>
    </mc:Choice>
    <mc:Fallback>
      <p:transition spd="slow" advTm="22154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Interface: Impression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35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01E1F07-4BFF-1EC0-8312-01489F5F249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653017" y="824273"/>
            <a:ext cx="8885963" cy="555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0085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6845"/>
    </mc:Choice>
    <mc:Fallback>
      <p:transition spd="slow" advTm="16845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Interface: Impression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36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01E1F07-4BFF-1EC0-8312-01489F5F249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653017" y="824273"/>
            <a:ext cx="8885963" cy="5554925"/>
          </a:xfrm>
          <a:prstGeom prst="rect">
            <a:avLst/>
          </a:prstGeom>
        </p:spPr>
      </p:pic>
      <p:sp>
        <p:nvSpPr>
          <p:cNvPr id="3" name="Sprechblase: oval 2">
            <a:extLst>
              <a:ext uri="{FF2B5EF4-FFF2-40B4-BE49-F238E27FC236}">
                <a16:creationId xmlns:a16="http://schemas.microsoft.com/office/drawing/2014/main" id="{AF8D0AC0-130E-ECAC-CE01-3ADF85A89A3E}"/>
              </a:ext>
            </a:extLst>
          </p:cNvPr>
          <p:cNvSpPr/>
          <p:nvPr/>
        </p:nvSpPr>
        <p:spPr>
          <a:xfrm>
            <a:off x="4665946" y="1970469"/>
            <a:ext cx="3876805" cy="1064712"/>
          </a:xfrm>
          <a:prstGeom prst="wedgeEllipseCallo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GB" dirty="0"/>
              <a:t>One-click filtering for </a:t>
            </a:r>
            <a:r>
              <a:rPr lang="en-GB" dirty="0" err="1"/>
              <a:t>plaso</a:t>
            </a:r>
            <a:r>
              <a:rPr lang="en-GB" dirty="0"/>
              <a:t> and Sigma tag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33378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2151"/>
    </mc:Choice>
    <mc:Fallback>
      <p:transition spd="slow" advTm="22151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Interface: Impression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37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01E1F07-4BFF-1EC0-8312-01489F5F249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189" t="8839" r="18518" b="3557"/>
          <a:stretch/>
        </p:blipFill>
        <p:spPr>
          <a:xfrm>
            <a:off x="2992700" y="940502"/>
            <a:ext cx="6206599" cy="5370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2106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6110"/>
    </mc:Choice>
    <mc:Fallback>
      <p:transition spd="slow" advTm="46110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Interface: Impression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38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01E1F07-4BFF-1EC0-8312-01489F5F249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653017" y="824273"/>
            <a:ext cx="8885963" cy="5554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510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9924"/>
    </mc:Choice>
    <mc:Fallback>
      <p:transition spd="slow" advTm="49924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Klemmbrett abgehakt Silhouette">
            <a:extLst>
              <a:ext uri="{FF2B5EF4-FFF2-40B4-BE49-F238E27FC236}">
                <a16:creationId xmlns:a16="http://schemas.microsoft.com/office/drawing/2014/main" id="{870766BD-4512-8ECA-483E-ED0A9FBCC9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976997" y="1052187"/>
            <a:ext cx="4753626" cy="4753626"/>
          </a:xfrm>
          <a:prstGeom prst="rect">
            <a:avLst/>
          </a:prstGeom>
        </p:spPr>
      </p:pic>
      <p:sp>
        <p:nvSpPr>
          <p:cNvPr id="5" name="Title" descr="Title of the chapter">
            <a:extLst>
              <a:ext uri="{FF2B5EF4-FFF2-40B4-BE49-F238E27FC236}">
                <a16:creationId xmlns:a16="http://schemas.microsoft.com/office/drawing/2014/main" id="{F640B5D6-DA30-4A72-90BF-4686C1ACCA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3" y="2337991"/>
            <a:ext cx="11376025" cy="1846659"/>
          </a:xfrm>
        </p:spPr>
        <p:txBody>
          <a:bodyPr/>
          <a:lstStyle/>
          <a:p>
            <a:br>
              <a:rPr lang="en-US" noProof="0" dirty="0"/>
            </a:br>
            <a:r>
              <a:rPr lang="en-US" b="1" noProof="0" dirty="0"/>
              <a:t>Summary</a:t>
            </a:r>
            <a:endParaRPr lang="en-US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219E2082-A671-48FA-BA58-21BFEF63DF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ACCFE235-7738-4971-A010-875207DA8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2834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621"/>
    </mc:Choice>
    <mc:Fallback>
      <p:transition spd="slow" advTm="162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 descr="Slide headline">
            <a:extLst>
              <a:ext uri="{FF2B5EF4-FFF2-40B4-BE49-F238E27FC236}">
                <a16:creationId xmlns:a16="http://schemas.microsoft.com/office/drawing/2014/main" id="{B0FD33D4-9003-4D2C-9514-77CB29C56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bout..</a:t>
            </a:r>
            <a:br>
              <a:rPr lang="en-US" noProof="0" dirty="0"/>
            </a:br>
            <a:endParaRPr lang="en-US" b="0" noProof="0" dirty="0"/>
          </a:p>
        </p:txBody>
      </p:sp>
      <p:sp>
        <p:nvSpPr>
          <p:cNvPr id="2" name="Copy 1" descr="Sample content">
            <a:extLst>
              <a:ext uri="{FF2B5EF4-FFF2-40B4-BE49-F238E27FC236}">
                <a16:creationId xmlns:a16="http://schemas.microsoft.com/office/drawing/2014/main" id="{ED2A6538-2665-470B-AC19-FB1A61DF6A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noProof="0" dirty="0"/>
              <a:t>Siemens CERT</a:t>
            </a:r>
          </a:p>
          <a:p>
            <a:endParaRPr lang="en-US" b="1" noProof="0" dirty="0"/>
          </a:p>
          <a:p>
            <a:pPr lvl="1"/>
            <a:r>
              <a:rPr lang="en-US" noProof="0" dirty="0"/>
              <a:t>Corporate incident response team for all Siemens units</a:t>
            </a:r>
          </a:p>
          <a:p>
            <a:pPr lvl="1"/>
            <a:r>
              <a:rPr lang="en-US" dirty="0"/>
              <a:t>Globally distributed (DE, ES, MX, PT, RO, US)</a:t>
            </a:r>
          </a:p>
          <a:p>
            <a:pPr lvl="1"/>
            <a:r>
              <a:rPr lang="en-US" dirty="0"/>
              <a:t>Supports corporate security measures alongside other teams (Threat Intelligence, Detection, Red Teams, …)</a:t>
            </a:r>
          </a:p>
          <a:p>
            <a:pPr lvl="1"/>
            <a:r>
              <a:rPr lang="en-US" noProof="0" dirty="0"/>
              <a:t>More than 20 years of operation and research</a:t>
            </a:r>
          </a:p>
          <a:p>
            <a:pPr lvl="1"/>
            <a:endParaRPr lang="en-US" noProof="0" dirty="0"/>
          </a:p>
          <a:p>
            <a:pPr lvl="1"/>
            <a:endParaRPr lang="en-US" noProof="0" dirty="0"/>
          </a:p>
        </p:txBody>
      </p:sp>
      <p:sp>
        <p:nvSpPr>
          <p:cNvPr id="7" name="Copy 2" descr="Sample content">
            <a:extLst>
              <a:ext uri="{FF2B5EF4-FFF2-40B4-BE49-F238E27FC236}">
                <a16:creationId xmlns:a16="http://schemas.microsoft.com/office/drawing/2014/main" id="{5D5C8547-4A38-4BBE-8146-2BE4EE409A91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 b="1" noProof="0" dirty="0"/>
              <a:t>/me</a:t>
            </a:r>
          </a:p>
          <a:p>
            <a:endParaRPr lang="en-US" b="1" noProof="0" dirty="0"/>
          </a:p>
          <a:p>
            <a:pPr lvl="1"/>
            <a:r>
              <a:rPr lang="en-US" noProof="0" dirty="0"/>
              <a:t>At Siemens CERT for ~6 years</a:t>
            </a:r>
          </a:p>
          <a:p>
            <a:pPr lvl="1"/>
            <a:r>
              <a:rPr lang="en-US" noProof="0" dirty="0"/>
              <a:t>Incident Responder</a:t>
            </a:r>
          </a:p>
          <a:p>
            <a:pPr lvl="1"/>
            <a:r>
              <a:rPr lang="en-US" noProof="0" dirty="0"/>
              <a:t>Forensics Analyst</a:t>
            </a:r>
          </a:p>
          <a:p>
            <a:pPr lvl="1"/>
            <a:r>
              <a:rPr lang="en-US" dirty="0"/>
              <a:t>Automation Engineer</a:t>
            </a:r>
            <a:endParaRPr lang="en-US" noProof="0" dirty="0"/>
          </a:p>
          <a:p>
            <a:pPr lvl="1"/>
            <a:r>
              <a:rPr lang="en-US" noProof="0" dirty="0"/>
              <a:t>Topic Lead for Forensics</a:t>
            </a:r>
          </a:p>
        </p:txBody>
      </p:sp>
      <p:sp>
        <p:nvSpPr>
          <p:cNvPr id="6" name="Copy 3 (Highlight)" descr="Sample content (highlight)">
            <a:extLst>
              <a:ext uri="{FF2B5EF4-FFF2-40B4-BE49-F238E27FC236}">
                <a16:creationId xmlns:a16="http://schemas.microsoft.com/office/drawing/2014/main" id="{1C480184-B2EC-43ED-A10E-782E68EE1194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en-US" b="1" noProof="0" dirty="0"/>
              <a:t>Forensics at CERT</a:t>
            </a:r>
          </a:p>
          <a:p>
            <a:endParaRPr lang="en-US" noProof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noProof="0" dirty="0"/>
              <a:t>Small sub-team inside CE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orts the incident handling process with analysis, research, ad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earch, extend and develop in-house tooling to improve and accelerate incident respon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38543DA-CC23-48CA-BBA6-732474F71B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1319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6131"/>
    </mc:Choice>
    <mc:Fallback>
      <p:transition spd="slow" advTm="146131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 descr="Slide headline">
            <a:extLst>
              <a:ext uri="{FF2B5EF4-FFF2-40B4-BE49-F238E27FC236}">
                <a16:creationId xmlns:a16="http://schemas.microsoft.com/office/drawing/2014/main" id="{B0FD33D4-9003-4D2C-9514-77CB29C56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ummary</a:t>
            </a:r>
            <a:endParaRPr lang="en-US" b="0" noProof="0" dirty="0"/>
          </a:p>
        </p:txBody>
      </p:sp>
      <p:sp>
        <p:nvSpPr>
          <p:cNvPr id="2" name="Copy 1" descr="Sample content">
            <a:extLst>
              <a:ext uri="{FF2B5EF4-FFF2-40B4-BE49-F238E27FC236}">
                <a16:creationId xmlns:a16="http://schemas.microsoft.com/office/drawing/2014/main" id="{ED2A6538-2665-470B-AC19-FB1A61DF6A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noProof="0" dirty="0"/>
              <a:t>Quality</a:t>
            </a:r>
          </a:p>
          <a:p>
            <a:endParaRPr lang="en-US" b="1" noProof="0" dirty="0"/>
          </a:p>
          <a:p>
            <a:pPr lvl="1"/>
            <a:r>
              <a:rPr lang="en-US" noProof="0" dirty="0"/>
              <a:t>Consistency in data processing and storage</a:t>
            </a:r>
          </a:p>
          <a:p>
            <a:pPr lvl="1"/>
            <a:r>
              <a:rPr lang="en-US" dirty="0"/>
              <a:t>Low-effort documentation</a:t>
            </a:r>
          </a:p>
          <a:p>
            <a:pPr lvl="1"/>
            <a:r>
              <a:rPr lang="en-US" dirty="0"/>
              <a:t>Improved collaboration</a:t>
            </a:r>
            <a:endParaRPr lang="en-US" noProof="0" dirty="0"/>
          </a:p>
          <a:p>
            <a:pPr lvl="1"/>
            <a:endParaRPr lang="en-US" noProof="0" dirty="0"/>
          </a:p>
          <a:p>
            <a:pPr lvl="1"/>
            <a:endParaRPr lang="en-US" noProof="0" dirty="0"/>
          </a:p>
          <a:p>
            <a:pPr lvl="1"/>
            <a:endParaRPr lang="en-US" noProof="0" dirty="0"/>
          </a:p>
          <a:p>
            <a:pPr lvl="1"/>
            <a:endParaRPr lang="en-US" noProof="0" dirty="0"/>
          </a:p>
        </p:txBody>
      </p:sp>
      <p:sp>
        <p:nvSpPr>
          <p:cNvPr id="7" name="Copy 2" descr="Sample content">
            <a:extLst>
              <a:ext uri="{FF2B5EF4-FFF2-40B4-BE49-F238E27FC236}">
                <a16:creationId xmlns:a16="http://schemas.microsoft.com/office/drawing/2014/main" id="{5D5C8547-4A38-4BBE-8146-2BE4EE409A91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 b="1" noProof="0" dirty="0"/>
              <a:t>Flexibility</a:t>
            </a:r>
          </a:p>
          <a:p>
            <a:endParaRPr lang="en-US" b="1" noProof="0" dirty="0"/>
          </a:p>
          <a:p>
            <a:pPr lvl="1"/>
            <a:r>
              <a:rPr lang="en-US" noProof="0" dirty="0"/>
              <a:t>Workers are easily written</a:t>
            </a:r>
          </a:p>
          <a:p>
            <a:pPr lvl="1"/>
            <a:r>
              <a:rPr lang="en-US" dirty="0"/>
              <a:t>Adaptable workflows</a:t>
            </a:r>
            <a:endParaRPr lang="en-US" noProof="0" dirty="0"/>
          </a:p>
          <a:p>
            <a:pPr lvl="1"/>
            <a:r>
              <a:rPr lang="en-US" dirty="0"/>
              <a:t>Versatile viewers</a:t>
            </a:r>
          </a:p>
          <a:p>
            <a:pPr lvl="1"/>
            <a:r>
              <a:rPr lang="en-US" noProof="0" dirty="0"/>
              <a:t>Exportable (file-first approach)</a:t>
            </a:r>
          </a:p>
        </p:txBody>
      </p:sp>
      <p:sp>
        <p:nvSpPr>
          <p:cNvPr id="6" name="Copy 3 (Highlight)" descr="Sample content (highlight)">
            <a:extLst>
              <a:ext uri="{FF2B5EF4-FFF2-40B4-BE49-F238E27FC236}">
                <a16:creationId xmlns:a16="http://schemas.microsoft.com/office/drawing/2014/main" id="{1C480184-B2EC-43ED-A10E-782E68EE1194}"/>
              </a:ext>
            </a:extLst>
          </p:cNvPr>
          <p:cNvSpPr>
            <a:spLocks noGrp="1"/>
          </p:cNvSpPr>
          <p:nvPr>
            <p:ph idx="12"/>
          </p:nvPr>
        </p:nvSpPr>
        <p:spPr>
          <a:noFill/>
        </p:spPr>
        <p:txBody>
          <a:bodyPr/>
          <a:lstStyle/>
          <a:p>
            <a:r>
              <a:rPr lang="en-US" b="1" noProof="0" dirty="0"/>
              <a:t>Scalability</a:t>
            </a:r>
          </a:p>
          <a:p>
            <a:endParaRPr lang="en-US" noProof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noProof="0" dirty="0"/>
              <a:t>Online, Offline, On Prem, Cloud, On-the-g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sily scal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38543DA-CC23-48CA-BBA6-732474F71B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2691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20750"/>
    </mc:Choice>
    <mc:Fallback>
      <p:transition spd="slow" advTm="120750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cknowledgements</a:t>
            </a:r>
            <a:br>
              <a:rPr lang="en-US" noProof="0" dirty="0"/>
            </a:br>
            <a:endParaRPr lang="en-US" b="0" noProof="0" dirty="0"/>
          </a:p>
        </p:txBody>
      </p:sp>
      <p:sp>
        <p:nvSpPr>
          <p:cNvPr id="3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8B2C2B24-AA75-49BF-859F-5FA3DA63A8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7E1FA0D-4CA4-4A2B-A939-A36476426E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9" name="Copy 1" descr="Sample content">
            <a:extLst>
              <a:ext uri="{FF2B5EF4-FFF2-40B4-BE49-F238E27FC236}">
                <a16:creationId xmlns:a16="http://schemas.microsoft.com/office/drawing/2014/main" id="{1FA72983-FAC2-E13A-308E-8CAE167FE325}"/>
              </a:ext>
            </a:extLst>
          </p:cNvPr>
          <p:cNvSpPr txBox="1">
            <a:spLocks/>
          </p:cNvSpPr>
          <p:nvPr/>
        </p:nvSpPr>
        <p:spPr>
          <a:xfrm>
            <a:off x="2067160" y="1414461"/>
            <a:ext cx="3600000" cy="2218061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r>
              <a:rPr lang="en-US" b="1" dirty="0"/>
              <a:t>Open Source DFIR authors!</a:t>
            </a:r>
          </a:p>
          <a:p>
            <a:pPr>
              <a:buClrTx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g2timeline/</a:t>
            </a:r>
            <a:r>
              <a:rPr lang="en-US" dirty="0" err="1"/>
              <a:t>plaso</a:t>
            </a:r>
            <a:r>
              <a:rPr lang="en-US" dirty="0"/>
              <a:t>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Joachmin</a:t>
            </a:r>
            <a:r>
              <a:rPr lang="en-US" dirty="0"/>
              <a:t> Metz (</a:t>
            </a:r>
            <a:r>
              <a:rPr lang="en-US" dirty="0" err="1"/>
              <a:t>libyal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SigmaHQ</a:t>
            </a:r>
            <a:r>
              <a:rPr lang="en-US"/>
              <a:t> Team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... and so many more</a:t>
            </a:r>
          </a:p>
          <a:p>
            <a:pPr marL="285750" indent="-285750">
              <a:buClrTx/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10" name="Copy 2" descr="Sample content">
            <a:extLst>
              <a:ext uri="{FF2B5EF4-FFF2-40B4-BE49-F238E27FC236}">
                <a16:creationId xmlns:a16="http://schemas.microsoft.com/office/drawing/2014/main" id="{1AA449AA-7A26-34A0-271D-B87B72497C55}"/>
              </a:ext>
            </a:extLst>
          </p:cNvPr>
          <p:cNvSpPr txBox="1">
            <a:spLocks/>
          </p:cNvSpPr>
          <p:nvPr/>
        </p:nvSpPr>
        <p:spPr>
          <a:xfrm>
            <a:off x="6524842" y="1407219"/>
            <a:ext cx="3600000" cy="221806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r>
              <a:rPr lang="en-US" b="1" dirty="0"/>
              <a:t>CERT Forensics alumni</a:t>
            </a:r>
          </a:p>
          <a:p>
            <a:pPr>
              <a:buClrTx/>
            </a:pPr>
            <a:endParaRPr lang="en-US" b="1" dirty="0"/>
          </a:p>
          <a:p>
            <a:pPr lvl="1"/>
            <a:r>
              <a:rPr lang="en-US" dirty="0"/>
              <a:t>Stefan Berger</a:t>
            </a:r>
          </a:p>
          <a:p>
            <a:pPr lvl="1"/>
            <a:r>
              <a:rPr lang="en-US" dirty="0"/>
              <a:t>Jonas Plum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762CD32-FF89-60A1-4B45-184C39DAA3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2562" y="4398588"/>
            <a:ext cx="5486876" cy="1146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1814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6971"/>
    </mc:Choice>
    <mc:Fallback>
      <p:transition spd="slow" advTm="56971"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EF7BA6B8-2D49-49EE-AA38-401584ACB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Questions?</a:t>
            </a:r>
          </a:p>
        </p:txBody>
      </p:sp>
      <p:sp>
        <p:nvSpPr>
          <p:cNvPr id="3" name="Subtitle" descr="Sample contact data">
            <a:extLst>
              <a:ext uri="{FF2B5EF4-FFF2-40B4-BE49-F238E27FC236}">
                <a16:creationId xmlns:a16="http://schemas.microsoft.com/office/drawing/2014/main" id="{A8C0B1B3-7902-4A0F-A274-1F5878B819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1"/>
            <a:r>
              <a:rPr lang="en-US" noProof="0" dirty="0"/>
              <a:t>Demian Kellermann</a:t>
            </a:r>
          </a:p>
          <a:p>
            <a:br>
              <a:rPr lang="en-US" noProof="0" dirty="0"/>
            </a:br>
            <a:r>
              <a:rPr lang="en-US" noProof="0" dirty="0"/>
              <a:t>CYS DEF CERT DF </a:t>
            </a:r>
          </a:p>
          <a:p>
            <a:pPr lvl="1"/>
            <a:r>
              <a:rPr lang="en-US" noProof="0" dirty="0"/>
              <a:t>E-mail </a:t>
            </a:r>
            <a:r>
              <a:rPr lang="en-US" noProof="0" dirty="0">
                <a:hlinkClick r:id="rId2"/>
              </a:rPr>
              <a:t>demian.kellermann@siemens.com</a:t>
            </a:r>
            <a:endParaRPr lang="en-US" noProof="0" dirty="0"/>
          </a:p>
          <a:p>
            <a:pPr lvl="1"/>
            <a:r>
              <a:rPr lang="en-US" noProof="0" dirty="0"/>
              <a:t>E-mail </a:t>
            </a:r>
            <a:r>
              <a:rPr lang="en-US" noProof="0" dirty="0">
                <a:hlinkClick r:id="rId3"/>
              </a:rPr>
              <a:t>cert@siemens.com</a:t>
            </a:r>
            <a:endParaRPr lang="en-US" noProof="0" dirty="0"/>
          </a:p>
          <a:p>
            <a:pPr lvl="1"/>
            <a:r>
              <a:rPr lang="en-US" dirty="0"/>
              <a:t>Web </a:t>
            </a:r>
            <a:r>
              <a:rPr lang="en-US" dirty="0">
                <a:hlinkClick r:id="rId4"/>
              </a:rPr>
              <a:t>https://siemens.com/cert</a:t>
            </a:r>
            <a:endParaRPr lang="en-US" dirty="0"/>
          </a:p>
          <a:p>
            <a:pPr lvl="1"/>
            <a:endParaRPr lang="en-US" dirty="0"/>
          </a:p>
          <a:p>
            <a:pPr lvl="1"/>
            <a:endParaRPr lang="en-US" noProof="0" dirty="0"/>
          </a:p>
        </p:txBody>
      </p:sp>
      <p:sp>
        <p:nvSpPr>
          <p:cNvPr id="2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7D86EBFB-CE6A-4758-896A-AAD8E1D0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EC03887-CC62-463B-9CCE-729F072DFB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0833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9004"/>
    </mc:Choice>
    <mc:Fallback>
      <p:transition spd="slow" advTm="9004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E18851-BCC8-3222-B600-1674E8D25DB3}"/>
              </a:ext>
            </a:extLst>
          </p:cNvPr>
          <p:cNvSpPr txBox="1"/>
          <p:nvPr/>
        </p:nvSpPr>
        <p:spPr>
          <a:xfrm>
            <a:off x="5813755" y="694344"/>
            <a:ext cx="6007102" cy="4924425"/>
          </a:xfrm>
          <a:prstGeom prst="rect">
            <a:avLst/>
          </a:prstGeom>
          <a:solidFill>
            <a:srgbClr val="F3F3F0"/>
          </a:solidFill>
        </p:spPr>
        <p:txBody>
          <a:bodyPr wrap="square">
            <a:spAutoFit/>
          </a:bodyPr>
          <a:lstStyle/>
          <a:p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_nam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wf-ee_image_full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endParaRPr lang="de-DE" sz="1400" b="1" dirty="0">
              <a:solidFill>
                <a:srgbClr val="00008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artifacts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ameter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evidenc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"%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videnc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artifact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SiemensArtifactsAll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keyfil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"%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keyfil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 </a:t>
            </a:r>
          </a:p>
          <a:p>
            <a:endParaRPr lang="de-DE" sz="1400" b="1" dirty="0">
              <a:solidFill>
                <a:srgbClr val="000000"/>
              </a:solidFill>
              <a:latin typeface="Courier New" panose="02070309020205020404" pitchFamily="49" charset="0"/>
            </a:endParaRPr>
          </a:p>
          <a:p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se_event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vent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ameter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2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$</a:t>
            </a:r>
            <a:r>
              <a:rPr lang="de-DE" sz="12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2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  <a:p>
            <a:endParaRPr lang="de-DE" sz="1400" b="1" dirty="0">
              <a:solidFill>
                <a:srgbClr val="00008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rocess_sam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sam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ameter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sam_hiv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$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/(?i)(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nfig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_|/)SAM$/" 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security_hiv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$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/(?i)(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nfig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_|/)SECURITY$/" 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system_hiv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$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/(?i)(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nfig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_|/)SYSTEM$/"   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ntds_dit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$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" 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brute_forc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</a:t>
            </a:r>
            <a:r>
              <a:rPr lang="de-DE" sz="1400" b="1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de-DE" sz="1400" b="1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alse</a:t>
            </a:r>
            <a:endParaRPr lang="de-DE" sz="1200" dirty="0">
              <a:effectLst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2EE1824-87EC-75D8-AB94-6F555B477A84}"/>
              </a:ext>
            </a:extLst>
          </p:cNvPr>
          <p:cNvSpPr txBox="1"/>
          <p:nvPr/>
        </p:nvSpPr>
        <p:spPr>
          <a:xfrm>
            <a:off x="925549" y="1065316"/>
            <a:ext cx="3856896" cy="1600438"/>
          </a:xfrm>
          <a:prstGeom prst="rect">
            <a:avLst/>
          </a:prstGeom>
          <a:solidFill>
            <a:srgbClr val="F3F3F0"/>
          </a:solidFill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title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en-US" sz="14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wf-ee_image_full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  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case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2023-10-15-demo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parameter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{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evidence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drive_c.dd"</a:t>
            </a:r>
          </a:p>
          <a:p>
            <a:r>
              <a:rPr lang="en-US" sz="1400" dirty="0">
                <a:solidFill>
                  <a:srgbClr val="800000"/>
                </a:solidFill>
                <a:latin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</a:p>
          <a:p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sz="1400" dirty="0">
              <a:effectLst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B9A765DC-9371-2A28-C91A-105ACB0D79F2}"/>
              </a:ext>
            </a:extLst>
          </p:cNvPr>
          <p:cNvGrpSpPr/>
          <p:nvPr/>
        </p:nvGrpSpPr>
        <p:grpSpPr>
          <a:xfrm>
            <a:off x="1203921" y="2899774"/>
            <a:ext cx="3321692" cy="2753724"/>
            <a:chOff x="1203921" y="2899774"/>
            <a:chExt cx="3321692" cy="2753724"/>
          </a:xfrm>
        </p:grpSpPr>
        <p:sp>
          <p:nvSpPr>
            <p:cNvPr id="7" name="Hexagon 2">
              <a:extLst>
                <a:ext uri="{FF2B5EF4-FFF2-40B4-BE49-F238E27FC236}">
                  <a16:creationId xmlns:a16="http://schemas.microsoft.com/office/drawing/2014/main" id="{43087E77-E713-3A52-EEFD-CDB0AD3FFE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238285" y="3518604"/>
              <a:ext cx="1231424" cy="845030"/>
            </a:xfrm>
            <a:prstGeom prst="hexagon">
              <a:avLst/>
            </a:prstGeom>
            <a:solidFill>
              <a:srgbClr val="333353"/>
            </a:solidFill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4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artifacts</a:t>
              </a:r>
            </a:p>
          </p:txBody>
        </p:sp>
        <p:sp>
          <p:nvSpPr>
            <p:cNvPr id="13" name="Hexagon 2">
              <a:extLst>
                <a:ext uri="{FF2B5EF4-FFF2-40B4-BE49-F238E27FC236}">
                  <a16:creationId xmlns:a16="http://schemas.microsoft.com/office/drawing/2014/main" id="{8BC13826-8ACC-D01B-19A7-8CA3A54F343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77279" y="4808468"/>
              <a:ext cx="1348334" cy="845030"/>
            </a:xfrm>
            <a:prstGeom prst="hexagon">
              <a:avLst/>
            </a:prstGeom>
            <a:solidFill>
              <a:srgbClr val="333353"/>
            </a:solidFill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400" dirty="0" err="1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eventlogs</a:t>
              </a:r>
              <a:endParaRPr lang="en-US" sz="14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" name="Hexagon 2">
              <a:extLst>
                <a:ext uri="{FF2B5EF4-FFF2-40B4-BE49-F238E27FC236}">
                  <a16:creationId xmlns:a16="http://schemas.microsoft.com/office/drawing/2014/main" id="{C185B1D4-15ED-7B08-BBA2-B22CC002992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03921" y="4808468"/>
              <a:ext cx="1231424" cy="845030"/>
            </a:xfrm>
            <a:prstGeom prst="hexagon">
              <a:avLst/>
            </a:prstGeom>
            <a:solidFill>
              <a:srgbClr val="333353"/>
            </a:solidFill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400" dirty="0" err="1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am</a:t>
              </a:r>
              <a:endParaRPr lang="en-US" sz="14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5" name="Pfeil: nach unten 14">
              <a:extLst>
                <a:ext uri="{FF2B5EF4-FFF2-40B4-BE49-F238E27FC236}">
                  <a16:creationId xmlns:a16="http://schemas.microsoft.com/office/drawing/2014/main" id="{A8E8CA91-5247-BCA5-A58C-4304520B2C74}"/>
                </a:ext>
              </a:extLst>
            </p:cNvPr>
            <p:cNvSpPr/>
            <p:nvPr/>
          </p:nvSpPr>
          <p:spPr>
            <a:xfrm>
              <a:off x="2674307" y="2899774"/>
              <a:ext cx="390238" cy="513567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 dirty="0"/>
            </a:p>
          </p:txBody>
        </p:sp>
        <p:sp>
          <p:nvSpPr>
            <p:cNvPr id="16" name="Pfeil: nach unten 15">
              <a:extLst>
                <a:ext uri="{FF2B5EF4-FFF2-40B4-BE49-F238E27FC236}">
                  <a16:creationId xmlns:a16="http://schemas.microsoft.com/office/drawing/2014/main" id="{66B0D913-8FCF-F1CE-0D01-1DF0DC7380B3}"/>
                </a:ext>
              </a:extLst>
            </p:cNvPr>
            <p:cNvSpPr/>
            <p:nvPr/>
          </p:nvSpPr>
          <p:spPr>
            <a:xfrm rot="2700000">
              <a:off x="1891247" y="4250857"/>
              <a:ext cx="390238" cy="513567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 dirty="0"/>
            </a:p>
          </p:txBody>
        </p:sp>
        <p:sp>
          <p:nvSpPr>
            <p:cNvPr id="17" name="Pfeil: nach unten 16">
              <a:extLst>
                <a:ext uri="{FF2B5EF4-FFF2-40B4-BE49-F238E27FC236}">
                  <a16:creationId xmlns:a16="http://schemas.microsoft.com/office/drawing/2014/main" id="{36F0471C-8C10-3217-FC6E-2FF7DF1CD41E}"/>
                </a:ext>
              </a:extLst>
            </p:cNvPr>
            <p:cNvSpPr/>
            <p:nvPr/>
          </p:nvSpPr>
          <p:spPr>
            <a:xfrm rot="18900000">
              <a:off x="3399212" y="4250856"/>
              <a:ext cx="390238" cy="513567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 dirty="0"/>
            </a:p>
          </p:txBody>
        </p:sp>
      </p:grpSp>
      <p:sp>
        <p:nvSpPr>
          <p:cNvPr id="20" name="Textfeld 19">
            <a:extLst>
              <a:ext uri="{FF2B5EF4-FFF2-40B4-BE49-F238E27FC236}">
                <a16:creationId xmlns:a16="http://schemas.microsoft.com/office/drawing/2014/main" id="{114646EE-EE02-DFE9-9CF2-BC7E5E828D1C}"/>
              </a:ext>
            </a:extLst>
          </p:cNvPr>
          <p:cNvSpPr txBox="1"/>
          <p:nvPr/>
        </p:nvSpPr>
        <p:spPr>
          <a:xfrm>
            <a:off x="3230738" y="2415290"/>
            <a:ext cx="155170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Job description</a:t>
            </a: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CD64E9F-CA54-A3E7-D673-F6E3F67E5871}"/>
              </a:ext>
            </a:extLst>
          </p:cNvPr>
          <p:cNvSpPr txBox="1"/>
          <p:nvPr/>
        </p:nvSpPr>
        <p:spPr>
          <a:xfrm>
            <a:off x="10871879" y="5341770"/>
            <a:ext cx="94897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Workflow</a:t>
            </a:r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67090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E18851-BCC8-3222-B600-1674E8D25DB3}"/>
              </a:ext>
            </a:extLst>
          </p:cNvPr>
          <p:cNvSpPr txBox="1"/>
          <p:nvPr/>
        </p:nvSpPr>
        <p:spPr>
          <a:xfrm>
            <a:off x="5813755" y="694344"/>
            <a:ext cx="6007102" cy="4924425"/>
          </a:xfrm>
          <a:prstGeom prst="rect">
            <a:avLst/>
          </a:prstGeom>
          <a:solidFill>
            <a:srgbClr val="F3F3F0"/>
          </a:solidFill>
        </p:spPr>
        <p:txBody>
          <a:bodyPr wrap="square">
            <a:spAutoFit/>
          </a:bodyPr>
          <a:lstStyle/>
          <a:p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_nam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wf-ee_image_full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endParaRPr lang="de-DE" sz="1400" b="1" dirty="0">
              <a:solidFill>
                <a:srgbClr val="00008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artifacts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ameter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evidenc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"%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videnc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artifact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SiemensArtifactsAll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keyfil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"%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keyfil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 </a:t>
            </a:r>
          </a:p>
          <a:p>
            <a:endParaRPr lang="de-DE" sz="1400" b="1" dirty="0">
              <a:solidFill>
                <a:srgbClr val="000000"/>
              </a:solidFill>
              <a:latin typeface="Courier New" panose="02070309020205020404" pitchFamily="49" charset="0"/>
            </a:endParaRPr>
          </a:p>
          <a:p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se_event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vent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ameter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2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$</a:t>
            </a:r>
            <a:r>
              <a:rPr lang="de-DE" sz="12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2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  <a:p>
            <a:endParaRPr lang="de-DE" sz="1400" b="1" dirty="0">
              <a:solidFill>
                <a:srgbClr val="00008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rocess_sam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sam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ameter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sam_hiv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$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/(?i)(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nfig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_|/)SAM$/" 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security_hiv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$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/(?i)(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nfig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_|/)SECURITY$/" 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system_hiv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$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/(?i)(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nfig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_|/)SYSTEM$/"   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ntds_dit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$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" 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brute_forc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</a:t>
            </a:r>
            <a:r>
              <a:rPr lang="de-DE" sz="1400" b="1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de-DE" sz="1400" b="1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alse</a:t>
            </a:r>
            <a:endParaRPr lang="de-DE" sz="1200" dirty="0">
              <a:effectLst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2EE1824-87EC-75D8-AB94-6F555B477A84}"/>
              </a:ext>
            </a:extLst>
          </p:cNvPr>
          <p:cNvSpPr txBox="1"/>
          <p:nvPr/>
        </p:nvSpPr>
        <p:spPr>
          <a:xfrm>
            <a:off x="925549" y="1065316"/>
            <a:ext cx="3856896" cy="1600438"/>
          </a:xfrm>
          <a:prstGeom prst="rect">
            <a:avLst/>
          </a:prstGeom>
          <a:solidFill>
            <a:srgbClr val="F3F3F0"/>
          </a:solidFill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title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en-US" sz="14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wf-ee_image_full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  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case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2023-10-15-demo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parameter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{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evidence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drive_c.dd“</a:t>
            </a:r>
          </a:p>
          <a:p>
            <a:r>
              <a:rPr lang="en-US" sz="1400" dirty="0">
                <a:solidFill>
                  <a:srgbClr val="800000"/>
                </a:solidFill>
                <a:latin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</a:p>
          <a:p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sz="1400" dirty="0">
              <a:effectLst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B9A765DC-9371-2A28-C91A-105ACB0D79F2}"/>
              </a:ext>
            </a:extLst>
          </p:cNvPr>
          <p:cNvGrpSpPr/>
          <p:nvPr/>
        </p:nvGrpSpPr>
        <p:grpSpPr>
          <a:xfrm>
            <a:off x="1203921" y="2899774"/>
            <a:ext cx="3321692" cy="2753724"/>
            <a:chOff x="1203921" y="2899774"/>
            <a:chExt cx="3321692" cy="2753724"/>
          </a:xfrm>
        </p:grpSpPr>
        <p:sp>
          <p:nvSpPr>
            <p:cNvPr id="7" name="Hexagon 2">
              <a:extLst>
                <a:ext uri="{FF2B5EF4-FFF2-40B4-BE49-F238E27FC236}">
                  <a16:creationId xmlns:a16="http://schemas.microsoft.com/office/drawing/2014/main" id="{43087E77-E713-3A52-EEFD-CDB0AD3FFE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238285" y="3518604"/>
              <a:ext cx="1231424" cy="845030"/>
            </a:xfrm>
            <a:prstGeom prst="hexagon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4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artifacts</a:t>
              </a:r>
            </a:p>
          </p:txBody>
        </p:sp>
        <p:sp>
          <p:nvSpPr>
            <p:cNvPr id="13" name="Hexagon 2">
              <a:extLst>
                <a:ext uri="{FF2B5EF4-FFF2-40B4-BE49-F238E27FC236}">
                  <a16:creationId xmlns:a16="http://schemas.microsoft.com/office/drawing/2014/main" id="{8BC13826-8ACC-D01B-19A7-8CA3A54F343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77279" y="4808468"/>
              <a:ext cx="1348334" cy="845030"/>
            </a:xfrm>
            <a:prstGeom prst="hexagon">
              <a:avLst/>
            </a:prstGeom>
            <a:solidFill>
              <a:srgbClr val="333353"/>
            </a:solidFill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400" dirty="0" err="1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eventlogs</a:t>
              </a:r>
              <a:endParaRPr lang="en-US" sz="14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" name="Hexagon 2">
              <a:extLst>
                <a:ext uri="{FF2B5EF4-FFF2-40B4-BE49-F238E27FC236}">
                  <a16:creationId xmlns:a16="http://schemas.microsoft.com/office/drawing/2014/main" id="{C185B1D4-15ED-7B08-BBA2-B22CC002992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03921" y="4808468"/>
              <a:ext cx="1231424" cy="845030"/>
            </a:xfrm>
            <a:prstGeom prst="hexagon">
              <a:avLst/>
            </a:prstGeom>
            <a:solidFill>
              <a:srgbClr val="333353"/>
            </a:solidFill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400" dirty="0" err="1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am</a:t>
              </a:r>
              <a:endParaRPr lang="en-US" sz="14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5" name="Pfeil: nach unten 14">
              <a:extLst>
                <a:ext uri="{FF2B5EF4-FFF2-40B4-BE49-F238E27FC236}">
                  <a16:creationId xmlns:a16="http://schemas.microsoft.com/office/drawing/2014/main" id="{A8E8CA91-5247-BCA5-A58C-4304520B2C74}"/>
                </a:ext>
              </a:extLst>
            </p:cNvPr>
            <p:cNvSpPr/>
            <p:nvPr/>
          </p:nvSpPr>
          <p:spPr>
            <a:xfrm>
              <a:off x="2674307" y="2899774"/>
              <a:ext cx="390238" cy="513567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 dirty="0"/>
            </a:p>
          </p:txBody>
        </p:sp>
        <p:sp>
          <p:nvSpPr>
            <p:cNvPr id="16" name="Pfeil: nach unten 15">
              <a:extLst>
                <a:ext uri="{FF2B5EF4-FFF2-40B4-BE49-F238E27FC236}">
                  <a16:creationId xmlns:a16="http://schemas.microsoft.com/office/drawing/2014/main" id="{66B0D913-8FCF-F1CE-0D01-1DF0DC7380B3}"/>
                </a:ext>
              </a:extLst>
            </p:cNvPr>
            <p:cNvSpPr/>
            <p:nvPr/>
          </p:nvSpPr>
          <p:spPr>
            <a:xfrm rot="2700000">
              <a:off x="1891247" y="4250857"/>
              <a:ext cx="390238" cy="513567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 dirty="0"/>
            </a:p>
          </p:txBody>
        </p:sp>
        <p:sp>
          <p:nvSpPr>
            <p:cNvPr id="17" name="Pfeil: nach unten 16">
              <a:extLst>
                <a:ext uri="{FF2B5EF4-FFF2-40B4-BE49-F238E27FC236}">
                  <a16:creationId xmlns:a16="http://schemas.microsoft.com/office/drawing/2014/main" id="{36F0471C-8C10-3217-FC6E-2FF7DF1CD41E}"/>
                </a:ext>
              </a:extLst>
            </p:cNvPr>
            <p:cNvSpPr/>
            <p:nvPr/>
          </p:nvSpPr>
          <p:spPr>
            <a:xfrm rot="18900000">
              <a:off x="3399212" y="4250856"/>
              <a:ext cx="390238" cy="513567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 dirty="0"/>
            </a:p>
          </p:txBody>
        </p: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7C32F673-953F-4BDD-E2AA-F1FBC0E6BA4C}"/>
              </a:ext>
            </a:extLst>
          </p:cNvPr>
          <p:cNvSpPr txBox="1"/>
          <p:nvPr/>
        </p:nvSpPr>
        <p:spPr>
          <a:xfrm>
            <a:off x="3230738" y="2415290"/>
            <a:ext cx="155170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Job description</a:t>
            </a: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8" name="Denkblase: wolkenförmig 7">
            <a:extLst>
              <a:ext uri="{FF2B5EF4-FFF2-40B4-BE49-F238E27FC236}">
                <a16:creationId xmlns:a16="http://schemas.microsoft.com/office/drawing/2014/main" id="{A4E5D8CA-9FC6-3FAD-1F72-CBEB4A4EA7E0}"/>
              </a:ext>
            </a:extLst>
          </p:cNvPr>
          <p:cNvSpPr/>
          <p:nvPr/>
        </p:nvSpPr>
        <p:spPr>
          <a:xfrm>
            <a:off x="5460334" y="2634661"/>
            <a:ext cx="3856896" cy="1423772"/>
          </a:xfrm>
          <a:prstGeom prst="cloudCallout">
            <a:avLst>
              <a:gd name="adj1" fmla="val -95695"/>
              <a:gd name="adj2" fmla="val 2823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GB" dirty="0"/>
              <a:t>Run this one first, it has no dependencies on other workers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8C1D922-D180-D227-603B-B8BF1429F23F}"/>
              </a:ext>
            </a:extLst>
          </p:cNvPr>
          <p:cNvSpPr txBox="1"/>
          <p:nvPr/>
        </p:nvSpPr>
        <p:spPr>
          <a:xfrm>
            <a:off x="10871879" y="5341770"/>
            <a:ext cx="94897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Workflow</a:t>
            </a:r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06399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E18851-BCC8-3222-B600-1674E8D25DB3}"/>
              </a:ext>
            </a:extLst>
          </p:cNvPr>
          <p:cNvSpPr txBox="1"/>
          <p:nvPr/>
        </p:nvSpPr>
        <p:spPr>
          <a:xfrm>
            <a:off x="5813755" y="694344"/>
            <a:ext cx="6007102" cy="4924425"/>
          </a:xfrm>
          <a:prstGeom prst="rect">
            <a:avLst/>
          </a:prstGeom>
          <a:solidFill>
            <a:srgbClr val="F3F3F0"/>
          </a:solidFill>
        </p:spPr>
        <p:txBody>
          <a:bodyPr wrap="square">
            <a:spAutoFit/>
          </a:bodyPr>
          <a:lstStyle/>
          <a:p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_nam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wf-ee_image_full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endParaRPr lang="de-DE" sz="1400" b="1" dirty="0">
              <a:solidFill>
                <a:srgbClr val="00008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 err="1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artifacts</a:t>
            </a:r>
            <a:endParaRPr lang="de-DE" sz="1400" dirty="0">
              <a:solidFill>
                <a:srgbClr val="000000"/>
              </a:solidFill>
              <a:effectLst/>
              <a:highlight>
                <a:srgbClr val="FFFF00"/>
              </a:highlight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ameter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evidenc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>
                <a:solidFill>
                  <a:srgbClr val="0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"%</a:t>
            </a:r>
            <a:r>
              <a:rPr lang="de-DE" sz="1400" dirty="0" err="1">
                <a:solidFill>
                  <a:srgbClr val="0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evidenc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artifact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SiemensArtifactsAll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keyfil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"%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keyfil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 </a:t>
            </a:r>
          </a:p>
          <a:p>
            <a:endParaRPr lang="de-DE" sz="1400" b="1" dirty="0">
              <a:solidFill>
                <a:srgbClr val="000000"/>
              </a:solidFill>
              <a:latin typeface="Courier New" panose="02070309020205020404" pitchFamily="49" charset="0"/>
            </a:endParaRPr>
          </a:p>
          <a:p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se_event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vent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ameter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2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$</a:t>
            </a:r>
            <a:r>
              <a:rPr lang="de-DE" sz="12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2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  <a:p>
            <a:endParaRPr lang="de-DE" sz="1400" b="1" dirty="0">
              <a:solidFill>
                <a:srgbClr val="00008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rocess_sam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sam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ameter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sam_hiv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$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/(?i)(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nfig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_|/)SAM$/" 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security_hiv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$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/(?i)(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nfig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_|/)SECURITY$/" 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system_hiv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$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/(?i)(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nfig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_|/)SYSTEM$/"   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ntds_dit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"$</a:t>
            </a:r>
            <a:r>
              <a:rPr lang="de-DE" sz="11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xtract</a:t>
            </a:r>
            <a:r>
              <a:rPr lang="de-DE" sz="11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" </a:t>
            </a:r>
            <a:endParaRPr lang="de-DE" sz="14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brute_force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</a:t>
            </a:r>
            <a:r>
              <a:rPr lang="de-DE" sz="1400" b="1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de-DE" sz="1400" b="1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alse</a:t>
            </a:r>
            <a:endParaRPr lang="de-DE" sz="1200" dirty="0">
              <a:effectLst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2EE1824-87EC-75D8-AB94-6F555B477A84}"/>
              </a:ext>
            </a:extLst>
          </p:cNvPr>
          <p:cNvSpPr txBox="1"/>
          <p:nvPr/>
        </p:nvSpPr>
        <p:spPr>
          <a:xfrm>
            <a:off x="925549" y="1065316"/>
            <a:ext cx="3947076" cy="2031325"/>
          </a:xfrm>
          <a:prstGeom prst="rect">
            <a:avLst/>
          </a:prstGeom>
          <a:solidFill>
            <a:srgbClr val="F3F3F0"/>
          </a:solidFill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title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en-US" sz="1400" dirty="0">
                <a:solidFill>
                  <a:srgbClr val="8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artifacts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id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42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  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case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2023-10-15-demo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parameter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{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evidence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en-US" sz="1400" dirty="0">
                <a:solidFill>
                  <a:srgbClr val="8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drive_c.dd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,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artifact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en-US" sz="11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SiemensArtifactsAll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,</a:t>
            </a:r>
            <a:endParaRPr lang="en-US" sz="1400" dirty="0">
              <a:solidFill>
                <a:srgbClr val="800000"/>
              </a:solidFill>
              <a:latin typeface="Courier New" panose="020703090202050204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}</a:t>
            </a:r>
          </a:p>
          <a:p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sz="1400" dirty="0">
              <a:effectLst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B9A765DC-9371-2A28-C91A-105ACB0D79F2}"/>
              </a:ext>
            </a:extLst>
          </p:cNvPr>
          <p:cNvGrpSpPr/>
          <p:nvPr/>
        </p:nvGrpSpPr>
        <p:grpSpPr>
          <a:xfrm>
            <a:off x="1203921" y="2899774"/>
            <a:ext cx="3321692" cy="2753724"/>
            <a:chOff x="1203921" y="2899774"/>
            <a:chExt cx="3321692" cy="2753724"/>
          </a:xfrm>
        </p:grpSpPr>
        <p:sp>
          <p:nvSpPr>
            <p:cNvPr id="7" name="Hexagon 2">
              <a:extLst>
                <a:ext uri="{FF2B5EF4-FFF2-40B4-BE49-F238E27FC236}">
                  <a16:creationId xmlns:a16="http://schemas.microsoft.com/office/drawing/2014/main" id="{43087E77-E713-3A52-EEFD-CDB0AD3FFE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238285" y="3518604"/>
              <a:ext cx="1231424" cy="845030"/>
            </a:xfrm>
            <a:prstGeom prst="hexagon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4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artifacts</a:t>
              </a:r>
            </a:p>
          </p:txBody>
        </p:sp>
        <p:sp>
          <p:nvSpPr>
            <p:cNvPr id="13" name="Hexagon 2">
              <a:extLst>
                <a:ext uri="{FF2B5EF4-FFF2-40B4-BE49-F238E27FC236}">
                  <a16:creationId xmlns:a16="http://schemas.microsoft.com/office/drawing/2014/main" id="{8BC13826-8ACC-D01B-19A7-8CA3A54F343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77279" y="4808468"/>
              <a:ext cx="1348334" cy="845030"/>
            </a:xfrm>
            <a:prstGeom prst="hexagon">
              <a:avLst/>
            </a:prstGeom>
            <a:solidFill>
              <a:srgbClr val="333353"/>
            </a:solidFill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400" dirty="0" err="1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eventlogs</a:t>
              </a:r>
              <a:endParaRPr lang="en-US" sz="14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" name="Hexagon 2">
              <a:extLst>
                <a:ext uri="{FF2B5EF4-FFF2-40B4-BE49-F238E27FC236}">
                  <a16:creationId xmlns:a16="http://schemas.microsoft.com/office/drawing/2014/main" id="{C185B1D4-15ED-7B08-BBA2-B22CC002992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03921" y="4808468"/>
              <a:ext cx="1231424" cy="845030"/>
            </a:xfrm>
            <a:prstGeom prst="hexagon">
              <a:avLst/>
            </a:prstGeom>
            <a:solidFill>
              <a:srgbClr val="333353"/>
            </a:solidFill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400" dirty="0" err="1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am</a:t>
              </a:r>
              <a:endParaRPr lang="en-US" sz="14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5" name="Pfeil: nach unten 14">
              <a:extLst>
                <a:ext uri="{FF2B5EF4-FFF2-40B4-BE49-F238E27FC236}">
                  <a16:creationId xmlns:a16="http://schemas.microsoft.com/office/drawing/2014/main" id="{A8E8CA91-5247-BCA5-A58C-4304520B2C74}"/>
                </a:ext>
              </a:extLst>
            </p:cNvPr>
            <p:cNvSpPr/>
            <p:nvPr/>
          </p:nvSpPr>
          <p:spPr>
            <a:xfrm>
              <a:off x="2674307" y="2899774"/>
              <a:ext cx="390238" cy="513567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 dirty="0"/>
            </a:p>
          </p:txBody>
        </p:sp>
        <p:sp>
          <p:nvSpPr>
            <p:cNvPr id="16" name="Pfeil: nach unten 15">
              <a:extLst>
                <a:ext uri="{FF2B5EF4-FFF2-40B4-BE49-F238E27FC236}">
                  <a16:creationId xmlns:a16="http://schemas.microsoft.com/office/drawing/2014/main" id="{66B0D913-8FCF-F1CE-0D01-1DF0DC7380B3}"/>
                </a:ext>
              </a:extLst>
            </p:cNvPr>
            <p:cNvSpPr/>
            <p:nvPr/>
          </p:nvSpPr>
          <p:spPr>
            <a:xfrm rot="2700000">
              <a:off x="1891247" y="4250857"/>
              <a:ext cx="390238" cy="513567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 dirty="0"/>
            </a:p>
          </p:txBody>
        </p:sp>
        <p:sp>
          <p:nvSpPr>
            <p:cNvPr id="17" name="Pfeil: nach unten 16">
              <a:extLst>
                <a:ext uri="{FF2B5EF4-FFF2-40B4-BE49-F238E27FC236}">
                  <a16:creationId xmlns:a16="http://schemas.microsoft.com/office/drawing/2014/main" id="{36F0471C-8C10-3217-FC6E-2FF7DF1CD41E}"/>
                </a:ext>
              </a:extLst>
            </p:cNvPr>
            <p:cNvSpPr/>
            <p:nvPr/>
          </p:nvSpPr>
          <p:spPr>
            <a:xfrm rot="18900000">
              <a:off x="3399212" y="4250856"/>
              <a:ext cx="390238" cy="513567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 dirty="0"/>
            </a:p>
          </p:txBody>
        </p: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3EDC0861-8AFD-6C77-A1A5-173E0091BDEB}"/>
              </a:ext>
            </a:extLst>
          </p:cNvPr>
          <p:cNvSpPr txBox="1"/>
          <p:nvPr/>
        </p:nvSpPr>
        <p:spPr>
          <a:xfrm>
            <a:off x="4005675" y="2816874"/>
            <a:ext cx="83356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New job</a:t>
            </a: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E406821-8D6B-D3AA-EF02-ABF0623A85BD}"/>
              </a:ext>
            </a:extLst>
          </p:cNvPr>
          <p:cNvSpPr txBox="1"/>
          <p:nvPr/>
        </p:nvSpPr>
        <p:spPr>
          <a:xfrm>
            <a:off x="10871879" y="5341770"/>
            <a:ext cx="94897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Workflow</a:t>
            </a:r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23583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E18851-BCC8-3222-B600-1674E8D25DB3}"/>
              </a:ext>
            </a:extLst>
          </p:cNvPr>
          <p:cNvSpPr txBox="1"/>
          <p:nvPr/>
        </p:nvSpPr>
        <p:spPr>
          <a:xfrm>
            <a:off x="7641640" y="478800"/>
            <a:ext cx="4139960" cy="954107"/>
          </a:xfrm>
          <a:prstGeom prst="rect">
            <a:avLst/>
          </a:prstGeom>
          <a:solidFill>
            <a:srgbClr val="F3F3F0"/>
          </a:solidFill>
        </p:spPr>
        <p:txBody>
          <a:bodyPr wrap="square">
            <a:spAutoFit/>
          </a:bodyPr>
          <a:lstStyle/>
          <a:p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se_event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job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eventlog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b="1" dirty="0" err="1">
                <a:solidFill>
                  <a:srgbClr val="000080"/>
                </a:solidFill>
                <a:effectLst/>
                <a:latin typeface="Courier New" panose="02070309020205020404" pitchFamily="49" charset="0"/>
              </a:rPr>
              <a:t>parameters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</a:p>
          <a:p>
            <a:r>
              <a:rPr lang="de-DE" sz="1400" b="1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b="1" dirty="0">
                <a:solidFill>
                  <a:srgbClr val="00008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logs</a:t>
            </a:r>
            <a:r>
              <a:rPr lang="de-DE" sz="140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: </a:t>
            </a:r>
            <a:r>
              <a:rPr lang="de-DE" sz="120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"$</a:t>
            </a:r>
            <a:r>
              <a:rPr lang="de-DE" sz="1200" dirty="0" err="1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extract</a:t>
            </a:r>
            <a:r>
              <a:rPr lang="de-DE" sz="120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1DF646E-7E60-DF9F-9360-53F07A03C8BF}"/>
              </a:ext>
            </a:extLst>
          </p:cNvPr>
          <p:cNvSpPr txBox="1"/>
          <p:nvPr/>
        </p:nvSpPr>
        <p:spPr>
          <a:xfrm>
            <a:off x="410400" y="917720"/>
            <a:ext cx="5522416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…</a:t>
            </a:r>
          </a:p>
          <a:p>
            <a:pPr algn="l"/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EventLogs</a:t>
            </a:r>
            <a:r>
              <a:rPr lang="en-GB" sz="1200" dirty="0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c_windows_system32_winevt_logs_Application</a:t>
            </a:r>
            <a:r>
              <a:rPr lang="en-GB" sz="1200" dirty="0">
                <a:solidFill>
                  <a:schemeClr val="tx1"/>
                </a:solidFill>
                <a:highlight>
                  <a:srgbClr val="00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evtx</a:t>
            </a:r>
          </a:p>
          <a:p>
            <a:pPr algn="l"/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gFiles</a:t>
            </a:r>
            <a:r>
              <a:rPr lang="en-GB" sz="1200" dirty="0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_temp_system</a:t>
            </a:r>
            <a:endParaRPr lang="en-GB" sz="1200" dirty="0">
              <a:solidFill>
                <a:schemeClr val="tx1"/>
              </a:solidFill>
              <a:highlight>
                <a:srgbClr val="FFFF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FTMetaFiles</a:t>
            </a:r>
            <a:r>
              <a:rPr lang="en-GB" sz="1200" dirty="0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_$MFT</a:t>
            </a:r>
            <a:endParaRPr lang="en-GB" sz="1200" dirty="0">
              <a:solidFill>
                <a:schemeClr val="tx1"/>
              </a:solidFill>
              <a:highlight>
                <a:srgbClr val="FFFF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egistryHives</a:t>
            </a:r>
            <a:r>
              <a:rPr lang="en-GB" sz="1200" dirty="0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c_windows_system32_config_SAM</a:t>
            </a:r>
          </a:p>
          <a:p>
            <a:pPr algn="l"/>
            <a:r>
              <a:rPr lang="en-GB" sz="1200" dirty="0" err="1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egistryHives</a:t>
            </a:r>
            <a:r>
              <a:rPr lang="en-GB" sz="1200" dirty="0">
                <a:solidFill>
                  <a:schemeClr val="tx1"/>
                </a:solidFill>
                <a:highlight>
                  <a:srgbClr val="FFFF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c_windows_system32_config_System</a:t>
            </a:r>
          </a:p>
          <a:p>
            <a:pPr algn="l"/>
            <a:r>
              <a:rPr lang="en-GB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…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45271C7-2EDC-6109-2405-8BB24BB158A8}"/>
              </a:ext>
            </a:extLst>
          </p:cNvPr>
          <p:cNvSpPr txBox="1"/>
          <p:nvPr/>
        </p:nvSpPr>
        <p:spPr>
          <a:xfrm>
            <a:off x="7641640" y="1739880"/>
            <a:ext cx="4139960" cy="3108543"/>
          </a:xfrm>
          <a:prstGeom prst="rect">
            <a:avLst/>
          </a:prstGeom>
          <a:solidFill>
            <a:srgbClr val="F3F3F0"/>
          </a:solidFill>
        </p:spPr>
        <p:txBody>
          <a:bodyPr wrap="square">
            <a:spAutoFit/>
          </a:bodyPr>
          <a:lstStyle/>
          <a:p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title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eventlogs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friendly_name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EVT(X) </a:t>
            </a:r>
            <a:r>
              <a:rPr lang="de-DE" sz="14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parser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</a:t>
            </a:r>
            <a:endParaRPr lang="de-DE" sz="1400" dirty="0">
              <a:solidFill>
                <a:srgbClr val="8000FF"/>
              </a:solidFill>
              <a:effectLst/>
              <a:latin typeface="Courier New" panose="02070309020205020404" pitchFamily="49" charset="0"/>
            </a:endParaRPr>
          </a:p>
          <a:p>
            <a:r>
              <a:rPr lang="de-DE" sz="1400" dirty="0">
                <a:solidFill>
                  <a:srgbClr val="8000FF"/>
                </a:solidFill>
                <a:latin typeface="Courier New" panose="02070309020205020404" pitchFamily="49" charset="0"/>
              </a:rPr>
              <a:t>  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category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reporting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properties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{ 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logs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{ 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evidence_type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anyEvidence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    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evidence_filters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[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de-DE" sz="1400" dirty="0">
                <a:solidFill>
                  <a:srgbClr val="8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"(?i)</a:t>
            </a:r>
            <a:r>
              <a:rPr lang="de-DE" sz="1400" b="1" dirty="0">
                <a:solidFill>
                  <a:srgbClr val="0000FF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\\</a:t>
            </a:r>
            <a:r>
              <a:rPr lang="de-DE" sz="1400" dirty="0">
                <a:solidFill>
                  <a:srgbClr val="8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.(</a:t>
            </a:r>
            <a:r>
              <a:rPr lang="de-DE" sz="1400" dirty="0" err="1">
                <a:solidFill>
                  <a:srgbClr val="8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evt|evtx|xml</a:t>
            </a:r>
            <a:r>
              <a:rPr lang="de-DE" sz="1400" dirty="0">
                <a:solidFill>
                  <a:srgbClr val="800000"/>
                </a:solidFill>
                <a:effectLst/>
                <a:highlight>
                  <a:srgbClr val="00FF00"/>
                </a:highlight>
                <a:latin typeface="Courier New" panose="02070309020205020404" pitchFamily="49" charset="0"/>
              </a:rPr>
              <a:t>)$"</a:t>
            </a:r>
          </a:p>
          <a:p>
            <a:r>
              <a:rPr lang="de-DE" sz="1400" dirty="0">
                <a:solidFill>
                  <a:srgbClr val="800000"/>
                </a:solidFill>
                <a:latin typeface="Courier New" panose="02070309020205020404" pitchFamily="49" charset="0"/>
              </a:rPr>
              <a:t>     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],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,</a:t>
            </a:r>
          </a:p>
          <a:p>
            <a:r>
              <a:rPr lang="de-DE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required</a:t>
            </a:r>
            <a:r>
              <a:rPr lang="de-DE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[ </a:t>
            </a:r>
            <a:r>
              <a:rPr lang="de-DE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logs"</a:t>
            </a:r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]</a:t>
            </a:r>
          </a:p>
          <a:p>
            <a:r>
              <a:rPr lang="de-DE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  <a:endParaRPr lang="de-DE" sz="1400" dirty="0">
              <a:effectLst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7D02A53-F59C-B65F-34A7-A3458875C497}"/>
              </a:ext>
            </a:extLst>
          </p:cNvPr>
          <p:cNvSpPr txBox="1"/>
          <p:nvPr/>
        </p:nvSpPr>
        <p:spPr>
          <a:xfrm>
            <a:off x="410400" y="2601654"/>
            <a:ext cx="6930830" cy="2246769"/>
          </a:xfrm>
          <a:prstGeom prst="rect">
            <a:avLst/>
          </a:prstGeom>
          <a:solidFill>
            <a:srgbClr val="F3F3F0"/>
          </a:solidFill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title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en-US" sz="14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eventlogs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  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case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2023-10-15-demo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parameter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{ </a:t>
            </a:r>
          </a:p>
          <a:p>
            <a:r>
              <a:rPr lang="en-US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rgbClr val="8000FF"/>
                </a:solidFill>
                <a:effectLst/>
                <a:latin typeface="Courier New" panose="02070309020205020404" pitchFamily="49" charset="0"/>
              </a:rPr>
              <a:t>"logs"</a:t>
            </a:r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[</a:t>
            </a:r>
          </a:p>
          <a:p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      "</a:t>
            </a:r>
            <a:r>
              <a:rPr lang="en-US" sz="1400" dirty="0">
                <a:solidFill>
                  <a:srgbClr val="800000"/>
                </a:solidFill>
                <a:effectLst/>
                <a:highlight>
                  <a:srgbClr val="00FFFF"/>
                </a:highlight>
                <a:latin typeface="Courier New" panose="02070309020205020404" pitchFamily="49" charset="0"/>
              </a:rPr>
              <a:t>artifacts-42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/</a:t>
            </a:r>
            <a:r>
              <a:rPr lang="en-US" sz="14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EventLogs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/c_windows_system32_   </a:t>
            </a:r>
          </a:p>
          <a:p>
            <a:r>
              <a:rPr lang="en-US" sz="1400" dirty="0">
                <a:solidFill>
                  <a:srgbClr val="800000"/>
                </a:solidFill>
                <a:latin typeface="Courier New" panose="02070309020205020404" pitchFamily="49" charset="0"/>
              </a:rPr>
              <a:t>        </a:t>
            </a:r>
            <a:r>
              <a:rPr lang="en-US" sz="1400" dirty="0" err="1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winevt_logs_Application.evtx</a:t>
            </a:r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"</a:t>
            </a:r>
          </a:p>
          <a:p>
            <a:r>
              <a:rPr lang="en-US" sz="1400" dirty="0">
                <a:solidFill>
                  <a:srgbClr val="80000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chemeClr val="tx1"/>
                </a:solidFill>
                <a:effectLst/>
                <a:latin typeface="Courier New" panose="02070309020205020404" pitchFamily="49" charset="0"/>
              </a:rPr>
              <a:t>],</a:t>
            </a:r>
          </a:p>
          <a:p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}</a:t>
            </a:r>
          </a:p>
          <a:p>
            <a:r>
              <a:rPr lang="en-US" sz="14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sz="1400" dirty="0">
              <a:effectLst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40D5176-A258-611C-9E44-899E110AC53A}"/>
              </a:ext>
            </a:extLst>
          </p:cNvPr>
          <p:cNvSpPr txBox="1"/>
          <p:nvPr/>
        </p:nvSpPr>
        <p:spPr>
          <a:xfrm>
            <a:off x="410399" y="5430033"/>
            <a:ext cx="1033616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We use the same process for the second job that also consumes this output, running them in parallel.</a:t>
            </a: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4866DF2-BC2D-4B31-9723-49D84B5C1F7A}"/>
              </a:ext>
            </a:extLst>
          </p:cNvPr>
          <p:cNvSpPr txBox="1"/>
          <p:nvPr/>
        </p:nvSpPr>
        <p:spPr>
          <a:xfrm>
            <a:off x="10127301" y="4571424"/>
            <a:ext cx="165429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Worker vacancy</a:t>
            </a: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4A02234-4336-4E05-ACDE-C5E75E619751}"/>
              </a:ext>
            </a:extLst>
          </p:cNvPr>
          <p:cNvSpPr txBox="1"/>
          <p:nvPr/>
        </p:nvSpPr>
        <p:spPr>
          <a:xfrm>
            <a:off x="11063455" y="1170895"/>
            <a:ext cx="71814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Recipe</a:t>
            </a: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5DAB224-40DA-48A6-4497-9F7E54AC6EF9}"/>
              </a:ext>
            </a:extLst>
          </p:cNvPr>
          <p:cNvSpPr txBox="1"/>
          <p:nvPr/>
        </p:nvSpPr>
        <p:spPr>
          <a:xfrm>
            <a:off x="6462562" y="4571423"/>
            <a:ext cx="83356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New job</a:t>
            </a: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5" name="Denkblase: wolkenförmig 4">
            <a:extLst>
              <a:ext uri="{FF2B5EF4-FFF2-40B4-BE49-F238E27FC236}">
                <a16:creationId xmlns:a16="http://schemas.microsoft.com/office/drawing/2014/main" id="{111A6B76-725F-0148-11F6-29CA1752A11F}"/>
              </a:ext>
            </a:extLst>
          </p:cNvPr>
          <p:cNvSpPr/>
          <p:nvPr/>
        </p:nvSpPr>
        <p:spPr>
          <a:xfrm>
            <a:off x="5544462" y="1402565"/>
            <a:ext cx="4610963" cy="2587247"/>
          </a:xfrm>
          <a:prstGeom prst="cloudCallout">
            <a:avLst>
              <a:gd name="adj1" fmla="val -64818"/>
              <a:gd name="adj2" fmla="val 3618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en-GB" dirty="0"/>
              <a:t>Filtering just leaves the EVTX file</a:t>
            </a:r>
          </a:p>
          <a:p>
            <a:pPr algn="l"/>
            <a:endParaRPr lang="en-GB" dirty="0"/>
          </a:p>
          <a:p>
            <a:pPr algn="ctr"/>
            <a:r>
              <a:rPr lang="en-GB" dirty="0"/>
              <a:t>Prepend the last worker's output directory and the job is read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862747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3" name="Rectangle 143">
            <a:extLst>
              <a:ext uri="{FF2B5EF4-FFF2-40B4-BE49-F238E27FC236}">
                <a16:creationId xmlns:a16="http://schemas.microsoft.com/office/drawing/2014/main" id="{43328248-7ABA-7C65-3EF9-901B67BEFBBD}"/>
              </a:ext>
            </a:extLst>
          </p:cNvPr>
          <p:cNvSpPr/>
          <p:nvPr/>
        </p:nvSpPr>
        <p:spPr bwMode="auto">
          <a:xfrm>
            <a:off x="410400" y="1054800"/>
            <a:ext cx="4416637" cy="495411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square" lIns="0" tIns="54000" rIns="0" bIns="54000" numCol="1" spcCol="72000" rtlCol="0" anchor="t">
            <a:noAutofit/>
          </a:bodyPr>
          <a:lstStyle/>
          <a:p>
            <a:pPr>
              <a:spcBef>
                <a:spcPts val="900"/>
              </a:spcBef>
              <a:spcAft>
                <a:spcPts val="300"/>
              </a:spcAft>
            </a:pPr>
            <a:r>
              <a:rPr lang="en-US" sz="1400" dirty="0">
                <a:solidFill>
                  <a:srgbClr val="32A0A0"/>
                </a:solidFill>
              </a:rPr>
              <a:t>Consistency</a:t>
            </a:r>
            <a:endParaRPr lang="en-US" sz="1400" dirty="0">
              <a:solidFill>
                <a:schemeClr val="tx1"/>
              </a:solidFill>
            </a:endParaRP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Consistency in data processing and storage</a:t>
            </a: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Well defined workflows that can be adapted over time</a:t>
            </a: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Re-running yields the same (</a:t>
            </a:r>
            <a:r>
              <a:rPr lang="en-US" sz="1400" i="1" dirty="0">
                <a:solidFill>
                  <a:schemeClr val="tx1"/>
                </a:solidFill>
              </a:rPr>
              <a:t>or more</a:t>
            </a:r>
            <a:r>
              <a:rPr lang="en-US" sz="1400" dirty="0">
                <a:solidFill>
                  <a:schemeClr val="tx1"/>
                </a:solidFill>
              </a:rPr>
              <a:t>) results</a:t>
            </a:r>
            <a:endParaRPr lang="en-US" sz="700" dirty="0">
              <a:solidFill>
                <a:srgbClr val="32A0A0"/>
              </a:solidFill>
            </a:endParaRPr>
          </a:p>
          <a:p>
            <a:pPr>
              <a:spcBef>
                <a:spcPts val="900"/>
              </a:spcBef>
              <a:spcAft>
                <a:spcPts val="300"/>
              </a:spcAft>
            </a:pPr>
            <a:r>
              <a:rPr lang="en-US" sz="1400" dirty="0">
                <a:solidFill>
                  <a:srgbClr val="32A0A0"/>
                </a:solidFill>
              </a:rPr>
              <a:t>Documentation made easy</a:t>
            </a:r>
            <a:endParaRPr lang="en-US" sz="1400" dirty="0">
              <a:solidFill>
                <a:schemeClr val="tx1"/>
              </a:solidFill>
            </a:endParaRP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Every table row, every piece of text, every timeline entry can be marked as important</a:t>
            </a: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Free text storytelling with Markdown formatting</a:t>
            </a:r>
          </a:p>
          <a:p>
            <a:pPr>
              <a:spcBef>
                <a:spcPts val="900"/>
              </a:spcBef>
              <a:spcAft>
                <a:spcPts val="300"/>
              </a:spcAft>
            </a:pPr>
            <a:r>
              <a:rPr lang="en-US" sz="1400" dirty="0">
                <a:solidFill>
                  <a:srgbClr val="32A0A0"/>
                </a:solidFill>
              </a:rPr>
              <a:t>Extensibility</a:t>
            </a:r>
            <a:endParaRPr lang="en-US" sz="1400" dirty="0">
              <a:solidFill>
                <a:schemeClr val="tx1"/>
              </a:solidFill>
            </a:endParaRP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Workers are easily written and there is usually no need to touch anything else</a:t>
            </a:r>
          </a:p>
          <a:p>
            <a:pPr marL="72000" lvl="1" indent="0">
              <a:spcBef>
                <a:spcPts val="300"/>
              </a:spcBef>
              <a:spcAft>
                <a:spcPts val="300"/>
              </a:spcAft>
              <a:buNone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tangle 143">
            <a:extLst>
              <a:ext uri="{FF2B5EF4-FFF2-40B4-BE49-F238E27FC236}">
                <a16:creationId xmlns:a16="http://schemas.microsoft.com/office/drawing/2014/main" id="{7187C8E5-825C-1C08-DE2B-85B16B5F2EE3}"/>
              </a:ext>
            </a:extLst>
          </p:cNvPr>
          <p:cNvSpPr/>
          <p:nvPr/>
        </p:nvSpPr>
        <p:spPr bwMode="auto">
          <a:xfrm>
            <a:off x="6096000" y="1054800"/>
            <a:ext cx="4416637" cy="495411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square" lIns="0" tIns="54000" rIns="0" bIns="54000" numCol="1" spcCol="72000" rtlCol="0" anchor="t"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rgbClr val="32A0A0"/>
                </a:solidFill>
              </a:rPr>
              <a:t>Scalability</a:t>
            </a: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ystem allows for parallel processing</a:t>
            </a:r>
          </a:p>
          <a:p>
            <a:pPr marL="216000" lvl="1" indent="-144000">
              <a:spcBef>
                <a:spcPts val="1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cales with hardware</a:t>
            </a:r>
          </a:p>
          <a:p>
            <a:pPr marL="0" lvl="1" indent="0">
              <a:spcBef>
                <a:spcPts val="900"/>
              </a:spcBef>
              <a:spcAft>
                <a:spcPts val="300"/>
              </a:spcAft>
              <a:buNone/>
            </a:pPr>
            <a:r>
              <a:rPr lang="en-US" sz="1400" dirty="0">
                <a:solidFill>
                  <a:srgbClr val="32A0A0"/>
                </a:solidFill>
              </a:rPr>
              <a:t>Independence</a:t>
            </a: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ystem is environment independent</a:t>
            </a: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Offline/Online/Cloud/On-prem/Portable</a:t>
            </a:r>
          </a:p>
          <a:p>
            <a:pPr>
              <a:spcBef>
                <a:spcPts val="900"/>
              </a:spcBef>
              <a:spcAft>
                <a:spcPts val="300"/>
              </a:spcAft>
            </a:pPr>
            <a:r>
              <a:rPr lang="en-US" sz="1400" dirty="0">
                <a:solidFill>
                  <a:srgbClr val="32A0A0"/>
                </a:solidFill>
              </a:rPr>
              <a:t>Exportability</a:t>
            </a:r>
            <a:endParaRPr lang="en-US" sz="1400" dirty="0">
              <a:solidFill>
                <a:schemeClr val="tx1"/>
              </a:solidFill>
            </a:endParaRP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File-first approach. Essentially, every result is a file</a:t>
            </a:r>
          </a:p>
        </p:txBody>
      </p:sp>
    </p:spTree>
    <p:extLst>
      <p:ext uri="{BB962C8B-B14F-4D97-AF65-F5344CB8AC3E}">
        <p14:creationId xmlns:p14="http://schemas.microsoft.com/office/powerpoint/2010/main" val="55546676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3" name="Rectangle 143">
            <a:extLst>
              <a:ext uri="{FF2B5EF4-FFF2-40B4-BE49-F238E27FC236}">
                <a16:creationId xmlns:a16="http://schemas.microsoft.com/office/drawing/2014/main" id="{43328248-7ABA-7C65-3EF9-901B67BEFBBD}"/>
              </a:ext>
            </a:extLst>
          </p:cNvPr>
          <p:cNvSpPr/>
          <p:nvPr/>
        </p:nvSpPr>
        <p:spPr bwMode="auto">
          <a:xfrm>
            <a:off x="410400" y="951943"/>
            <a:ext cx="11371200" cy="495411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square" lIns="0" tIns="54000" rIns="0" bIns="54000" numCol="1" spcCol="72000" rtlCol="0" anchor="t">
            <a:noAutofit/>
          </a:bodyPr>
          <a:lstStyle/>
          <a:p>
            <a:pPr>
              <a:spcBef>
                <a:spcPts val="900"/>
              </a:spcBef>
              <a:spcAft>
                <a:spcPts val="300"/>
              </a:spcAft>
            </a:pPr>
            <a:r>
              <a:rPr lang="en-US" sz="1400" dirty="0">
                <a:solidFill>
                  <a:srgbClr val="32A0A0"/>
                </a:solidFill>
              </a:rPr>
              <a:t>Fun for the whole IR team</a:t>
            </a:r>
            <a:endParaRPr lang="en-US" sz="1400" dirty="0">
              <a:solidFill>
                <a:schemeClr val="tx1"/>
              </a:solidFill>
            </a:endParaRP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ncident handlers can start processing data as soon as it comes in </a:t>
            </a: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Automatic findings and common interface lower the barrier to entry into forensics</a:t>
            </a: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mproved collaboration due to easy access</a:t>
            </a:r>
            <a:endParaRPr lang="en-US" sz="700" dirty="0">
              <a:solidFill>
                <a:srgbClr val="32A0A0"/>
              </a:solidFill>
            </a:endParaRPr>
          </a:p>
          <a:p>
            <a:pPr>
              <a:spcBef>
                <a:spcPts val="900"/>
              </a:spcBef>
              <a:spcAft>
                <a:spcPts val="300"/>
              </a:spcAft>
            </a:pPr>
            <a:r>
              <a:rPr lang="en-US" sz="1400" dirty="0">
                <a:solidFill>
                  <a:srgbClr val="32A0A0"/>
                </a:solidFill>
              </a:rPr>
              <a:t>Improved Documentation</a:t>
            </a:r>
            <a:endParaRPr lang="en-US" sz="1400" dirty="0">
              <a:solidFill>
                <a:schemeClr val="tx1"/>
              </a:solidFill>
            </a:endParaRP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Low-effort documentation using pre-filled forms</a:t>
            </a: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Accessible findings summary </a:t>
            </a:r>
          </a:p>
          <a:p>
            <a:pPr>
              <a:spcBef>
                <a:spcPts val="900"/>
              </a:spcBef>
              <a:spcAft>
                <a:spcPts val="300"/>
              </a:spcAft>
            </a:pPr>
            <a:r>
              <a:rPr lang="en-US" sz="1400" dirty="0">
                <a:solidFill>
                  <a:srgbClr val="32A0A0"/>
                </a:solidFill>
              </a:rPr>
              <a:t>Quick reaction speed</a:t>
            </a:r>
            <a:endParaRPr lang="en-US" sz="1400" dirty="0">
              <a:solidFill>
                <a:schemeClr val="tx1"/>
              </a:solidFill>
            </a:endParaRP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Workers are easily adapted or added for new threats and immediately become part of every investigation</a:t>
            </a:r>
          </a:p>
          <a:p>
            <a:pPr marL="216000" lvl="1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Low barrier to entry due to </a:t>
            </a:r>
            <a:r>
              <a:rPr lang="en-US" sz="1400" dirty="0" err="1">
                <a:solidFill>
                  <a:schemeClr val="tx1"/>
                </a:solidFill>
              </a:rPr>
              <a:t>dockerized</a:t>
            </a:r>
            <a:r>
              <a:rPr lang="en-US" sz="1400" dirty="0">
                <a:solidFill>
                  <a:schemeClr val="tx1"/>
                </a:solidFill>
              </a:rPr>
              <a:t> approach and worker-library support</a:t>
            </a:r>
          </a:p>
          <a:p>
            <a:pPr marL="72000" lvl="1" indent="0">
              <a:spcBef>
                <a:spcPts val="300"/>
              </a:spcBef>
              <a:spcAft>
                <a:spcPts val="300"/>
              </a:spcAft>
              <a:buNone/>
            </a:pP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8583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standing attack details (what, when, how, who)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C3EC7E9D-7288-1B09-9F47-E672AB7399BC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26737" y="1195794"/>
            <a:ext cx="2849603" cy="25164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35981" tIns="35981" rIns="0" bIns="0" anchor="t">
            <a:spAutoFit/>
          </a:bodyPr>
          <a:lstStyle/>
          <a:p>
            <a:pPr marL="0" lvl="2" indent="0">
              <a:spcBef>
                <a:spcPts val="600"/>
              </a:spcBef>
              <a:buNone/>
            </a:pPr>
            <a:r>
              <a:rPr lang="en-US" sz="1399" dirty="0">
                <a:solidFill>
                  <a:srgbClr val="009999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ncident Handling Process </a:t>
            </a:r>
            <a:r>
              <a:rPr lang="en-US" sz="999" dirty="0">
                <a:solidFill>
                  <a:srgbClr val="009999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(simplified)</a:t>
            </a:r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DC55ED3A-B07C-C535-2D70-BD7CBCFA8F24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42440" y="1942869"/>
            <a:ext cx="2518688" cy="38028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71963" tIns="35981" rIns="35981" bIns="35981" anchor="t">
            <a:spAutoFit/>
          </a:bodyPr>
          <a:lstStyle/>
          <a:p>
            <a:pPr lvl="0" fontAlgn="auto"/>
            <a:r>
              <a:rPr lang="en-US" sz="999" dirty="0">
                <a:solidFill>
                  <a:srgbClr val="004669"/>
                </a:solidFill>
              </a:rPr>
              <a:t>Compromise of confidentiality, integrity and/or availability of information.</a:t>
            </a:r>
          </a:p>
        </p:txBody>
      </p:sp>
      <p:sp>
        <p:nvSpPr>
          <p:cNvPr id="14" name="Rectangle 2">
            <a:extLst>
              <a:ext uri="{FF2B5EF4-FFF2-40B4-BE49-F238E27FC236}">
                <a16:creationId xmlns:a16="http://schemas.microsoft.com/office/drawing/2014/main" id="{378FB84D-64F2-01AE-4188-5E67DEB80DF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53231" y="1942869"/>
            <a:ext cx="2518688" cy="38028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71963" tIns="35981" rIns="35981" bIns="35981" anchor="t">
            <a:spAutoFit/>
          </a:bodyPr>
          <a:lstStyle/>
          <a:p>
            <a:pPr lvl="0" fontAlgn="auto"/>
            <a:r>
              <a:rPr lang="en-US" sz="999" dirty="0">
                <a:solidFill>
                  <a:srgbClr val="004669"/>
                </a:solidFill>
              </a:rPr>
              <a:t>Analyze attack and initiate counter measures.</a:t>
            </a:r>
            <a:endParaRPr lang="de-DE" sz="999" dirty="0">
              <a:solidFill>
                <a:srgbClr val="004669"/>
              </a:solidFill>
            </a:endParaRPr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8C045B69-3C95-E203-D896-E94CA95B9A96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64023" y="1942869"/>
            <a:ext cx="2518688" cy="53370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71963" tIns="35981" rIns="35981" bIns="35981" anchor="t">
            <a:spAutoFit/>
          </a:bodyPr>
          <a:lstStyle/>
          <a:p>
            <a:pPr lvl="0" fontAlgn="auto"/>
            <a:r>
              <a:rPr lang="en-US" sz="999" dirty="0">
                <a:solidFill>
                  <a:srgbClr val="004669"/>
                </a:solidFill>
              </a:rPr>
              <a:t>Contain: Limit extent of malicious activity</a:t>
            </a:r>
          </a:p>
          <a:p>
            <a:pPr lvl="0" fontAlgn="auto"/>
            <a:r>
              <a:rPr lang="en-US" sz="999" dirty="0">
                <a:solidFill>
                  <a:srgbClr val="004669"/>
                </a:solidFill>
              </a:rPr>
              <a:t>Mitigate: Prevent further damage</a:t>
            </a:r>
          </a:p>
          <a:p>
            <a:pPr lvl="0" fontAlgn="auto"/>
            <a:r>
              <a:rPr lang="en-US" sz="999" dirty="0">
                <a:solidFill>
                  <a:srgbClr val="004669"/>
                </a:solidFill>
              </a:rPr>
              <a:t>Repair: Fix &amp; prevent reoccurring</a:t>
            </a:r>
            <a:endParaRPr lang="de-DE" sz="999" dirty="0">
              <a:solidFill>
                <a:srgbClr val="004669"/>
              </a:solidFill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id="{E1D37598-5A0B-BF50-959D-74E16CD181E0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974813" y="1942869"/>
            <a:ext cx="2518688" cy="38028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71963" tIns="35981" rIns="35981" bIns="35981" anchor="t">
            <a:spAutoFit/>
          </a:bodyPr>
          <a:lstStyle/>
          <a:p>
            <a:r>
              <a:rPr lang="en-US" sz="999" dirty="0">
                <a:solidFill>
                  <a:srgbClr val="004669"/>
                </a:solidFill>
              </a:rPr>
              <a:t>Restore integrity of affected systems to a non-degraded operational state.</a:t>
            </a:r>
            <a:endParaRPr lang="de-DE" sz="999" dirty="0">
              <a:solidFill>
                <a:srgbClr val="004669"/>
              </a:solidFill>
            </a:endParaRPr>
          </a:p>
        </p:txBody>
      </p:sp>
      <p:sp>
        <p:nvSpPr>
          <p:cNvPr id="17" name="Chevron 8">
            <a:extLst>
              <a:ext uri="{FF2B5EF4-FFF2-40B4-BE49-F238E27FC236}">
                <a16:creationId xmlns:a16="http://schemas.microsoft.com/office/drawing/2014/main" id="{67D5D3CD-9F55-082D-24C6-B4407C5A493A}"/>
              </a:ext>
            </a:extLst>
          </p:cNvPr>
          <p:cNvSpPr/>
          <p:nvPr/>
        </p:nvSpPr>
        <p:spPr bwMode="auto">
          <a:xfrm>
            <a:off x="3553231" y="1520657"/>
            <a:ext cx="2518688" cy="359813"/>
          </a:xfrm>
          <a:prstGeom prst="chevron">
            <a:avLst/>
          </a:prstGeom>
          <a:solidFill>
            <a:srgbClr val="009999"/>
          </a:solidFill>
          <a:ln w="9525">
            <a:solidFill>
              <a:srgbClr val="004669"/>
            </a:solidFill>
            <a:miter lim="800000"/>
            <a:headEnd/>
            <a:tailEnd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spond</a:t>
            </a:r>
          </a:p>
        </p:txBody>
      </p:sp>
      <p:sp>
        <p:nvSpPr>
          <p:cNvPr id="18" name="Chevron 42">
            <a:extLst>
              <a:ext uri="{FF2B5EF4-FFF2-40B4-BE49-F238E27FC236}">
                <a16:creationId xmlns:a16="http://schemas.microsoft.com/office/drawing/2014/main" id="{CD6F6D28-821D-18A3-145E-239FCB010A6A}"/>
              </a:ext>
            </a:extLst>
          </p:cNvPr>
          <p:cNvSpPr/>
          <p:nvPr/>
        </p:nvSpPr>
        <p:spPr bwMode="auto">
          <a:xfrm>
            <a:off x="6264023" y="1520657"/>
            <a:ext cx="2518688" cy="359813"/>
          </a:xfrm>
          <a:prstGeom prst="chevron">
            <a:avLst/>
          </a:prstGeom>
          <a:noFill/>
          <a:ln w="9525">
            <a:solidFill>
              <a:srgbClr val="004669"/>
            </a:solidFill>
            <a:miter lim="800000"/>
            <a:headEnd/>
            <a:tailEnd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dirty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mediate</a:t>
            </a:r>
          </a:p>
        </p:txBody>
      </p:sp>
      <p:sp>
        <p:nvSpPr>
          <p:cNvPr id="19" name="Pentagon 43">
            <a:extLst>
              <a:ext uri="{FF2B5EF4-FFF2-40B4-BE49-F238E27FC236}">
                <a16:creationId xmlns:a16="http://schemas.microsoft.com/office/drawing/2014/main" id="{B8766D26-98C8-E96B-7B81-BBCCE83D3366}"/>
              </a:ext>
            </a:extLst>
          </p:cNvPr>
          <p:cNvSpPr/>
          <p:nvPr/>
        </p:nvSpPr>
        <p:spPr bwMode="auto">
          <a:xfrm>
            <a:off x="842440" y="1520657"/>
            <a:ext cx="2518688" cy="359813"/>
          </a:xfrm>
          <a:prstGeom prst="homePlate">
            <a:avLst/>
          </a:prstGeom>
          <a:noFill/>
          <a:ln w="9525">
            <a:solidFill>
              <a:srgbClr val="004669"/>
            </a:solidFill>
            <a:miter lim="800000"/>
            <a:headEnd/>
            <a:tailEnd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dirty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etect</a:t>
            </a:r>
          </a:p>
        </p:txBody>
      </p:sp>
      <p:sp>
        <p:nvSpPr>
          <p:cNvPr id="20" name="Chevron 44">
            <a:extLst>
              <a:ext uri="{FF2B5EF4-FFF2-40B4-BE49-F238E27FC236}">
                <a16:creationId xmlns:a16="http://schemas.microsoft.com/office/drawing/2014/main" id="{7A73C62A-8785-4C1B-2DC2-2BA03E98D3A1}"/>
              </a:ext>
            </a:extLst>
          </p:cNvPr>
          <p:cNvSpPr/>
          <p:nvPr/>
        </p:nvSpPr>
        <p:spPr bwMode="auto">
          <a:xfrm>
            <a:off x="8974813" y="1520657"/>
            <a:ext cx="2518688" cy="359813"/>
          </a:xfrm>
          <a:prstGeom prst="chevron">
            <a:avLst/>
          </a:prstGeom>
          <a:noFill/>
          <a:ln w="9525">
            <a:solidFill>
              <a:srgbClr val="004669"/>
            </a:solidFill>
            <a:miter lim="800000"/>
            <a:headEnd/>
            <a:tailEnd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dirty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cover</a:t>
            </a:r>
          </a:p>
        </p:txBody>
      </p:sp>
      <p:sp>
        <p:nvSpPr>
          <p:cNvPr id="22" name="Rectangle 2">
            <a:extLst>
              <a:ext uri="{FF2B5EF4-FFF2-40B4-BE49-F238E27FC236}">
                <a16:creationId xmlns:a16="http://schemas.microsoft.com/office/drawing/2014/main" id="{2F090835-6CFE-4157-BD65-CAC779759B2B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26241" y="3428444"/>
            <a:ext cx="2048102" cy="25164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35981" tIns="35981" rIns="0" bIns="0" anchor="t">
            <a:spAutoFit/>
          </a:bodyPr>
          <a:lstStyle/>
          <a:p>
            <a:pPr marL="0" lvl="2" indent="0">
              <a:spcBef>
                <a:spcPts val="600"/>
              </a:spcBef>
              <a:buNone/>
            </a:pPr>
            <a:r>
              <a:rPr lang="en-US" sz="1399" dirty="0">
                <a:solidFill>
                  <a:srgbClr val="009999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Forensic Analysis Stages</a:t>
            </a:r>
            <a:endParaRPr lang="en-US" sz="999" dirty="0">
              <a:solidFill>
                <a:srgbClr val="009999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3CDC626-215C-2753-DDC9-4AF03A97958E}"/>
              </a:ext>
            </a:extLst>
          </p:cNvPr>
          <p:cNvGrpSpPr/>
          <p:nvPr/>
        </p:nvGrpSpPr>
        <p:grpSpPr>
          <a:xfrm>
            <a:off x="1470883" y="3964187"/>
            <a:ext cx="9250234" cy="891600"/>
            <a:chOff x="1470883" y="3876505"/>
            <a:chExt cx="9250234" cy="891600"/>
          </a:xfrm>
        </p:grpSpPr>
        <p:grpSp>
          <p:nvGrpSpPr>
            <p:cNvPr id="23" name="Group 14">
              <a:extLst>
                <a:ext uri="{FF2B5EF4-FFF2-40B4-BE49-F238E27FC236}">
                  <a16:creationId xmlns:a16="http://schemas.microsoft.com/office/drawing/2014/main" id="{BA04B308-2EB3-1D2D-97DF-2F909DC3D465}"/>
                </a:ext>
              </a:extLst>
            </p:cNvPr>
            <p:cNvGrpSpPr>
              <a:grpSpLocks/>
            </p:cNvGrpSpPr>
            <p:nvPr/>
          </p:nvGrpSpPr>
          <p:grpSpPr>
            <a:xfrm>
              <a:off x="1470883" y="3876505"/>
              <a:ext cx="1985087" cy="855619"/>
              <a:chOff x="2465920" y="3357019"/>
              <a:chExt cx="1986121" cy="856065"/>
            </a:xfrm>
          </p:grpSpPr>
          <p:sp>
            <p:nvSpPr>
              <p:cNvPr id="49" name="TextBox 52">
                <a:extLst>
                  <a:ext uri="{FF2B5EF4-FFF2-40B4-BE49-F238E27FC236}">
                    <a16:creationId xmlns:a16="http://schemas.microsoft.com/office/drawing/2014/main" id="{5FCB5E81-056A-1DBC-DD4B-1869B400BD0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65920" y="3357019"/>
                <a:ext cx="1986121" cy="24974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1599" i="1" dirty="0">
                    <a:solidFill>
                      <a:srgbClr val="004669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Information Gathering</a:t>
                </a:r>
              </a:p>
            </p:txBody>
          </p:sp>
          <p:grpSp>
            <p:nvGrpSpPr>
              <p:cNvPr id="50" name="Gruppieren 669">
                <a:extLst>
                  <a:ext uri="{FF2B5EF4-FFF2-40B4-BE49-F238E27FC236}">
                    <a16:creationId xmlns:a16="http://schemas.microsoft.com/office/drawing/2014/main" id="{0170E611-CD16-9194-648A-F77A77BAE388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8"/>
                </p:custDataLst>
              </p:nvPr>
            </p:nvGrpSpPr>
            <p:grpSpPr bwMode="gray">
              <a:xfrm>
                <a:off x="3242228" y="3781084"/>
                <a:ext cx="433505" cy="432000"/>
                <a:chOff x="2312419" y="5322883"/>
                <a:chExt cx="457223" cy="456365"/>
              </a:xfrm>
              <a:solidFill>
                <a:srgbClr val="004669"/>
              </a:solidFill>
            </p:grpSpPr>
            <p:sp>
              <p:nvSpPr>
                <p:cNvPr id="51" name="Freeform 92">
                  <a:extLst>
                    <a:ext uri="{FF2B5EF4-FFF2-40B4-BE49-F238E27FC236}">
                      <a16:creationId xmlns:a16="http://schemas.microsoft.com/office/drawing/2014/main" id="{5863C485-E355-87C3-C313-B8141A285050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2312419" y="5322883"/>
                  <a:ext cx="457223" cy="456365"/>
                </a:xfrm>
                <a:custGeom>
                  <a:avLst/>
                  <a:gdLst>
                    <a:gd name="T0" fmla="*/ 219 w 509"/>
                    <a:gd name="T1" fmla="*/ 7 h 508"/>
                    <a:gd name="T2" fmla="*/ 377 w 509"/>
                    <a:gd name="T3" fmla="*/ 37 h 508"/>
                    <a:gd name="T4" fmla="*/ 492 w 509"/>
                    <a:gd name="T5" fmla="*/ 184 h 508"/>
                    <a:gd name="T6" fmla="*/ 478 w 509"/>
                    <a:gd name="T7" fmla="*/ 360 h 508"/>
                    <a:gd name="T8" fmla="*/ 356 w 509"/>
                    <a:gd name="T9" fmla="*/ 479 h 508"/>
                    <a:gd name="T10" fmla="*/ 154 w 509"/>
                    <a:gd name="T11" fmla="*/ 478 h 508"/>
                    <a:gd name="T12" fmla="*/ 39 w 509"/>
                    <a:gd name="T13" fmla="*/ 371 h 508"/>
                    <a:gd name="T14" fmla="*/ 26 w 509"/>
                    <a:gd name="T15" fmla="*/ 163 h 508"/>
                    <a:gd name="T16" fmla="*/ 219 w 509"/>
                    <a:gd name="T17" fmla="*/ 7 h 508"/>
                    <a:gd name="T18" fmla="*/ 211 w 509"/>
                    <a:gd name="T19" fmla="*/ 58 h 508"/>
                    <a:gd name="T20" fmla="*/ 58 w 509"/>
                    <a:gd name="T21" fmla="*/ 244 h 508"/>
                    <a:gd name="T22" fmla="*/ 137 w 509"/>
                    <a:gd name="T23" fmla="*/ 412 h 508"/>
                    <a:gd name="T24" fmla="*/ 281 w 509"/>
                    <a:gd name="T25" fmla="*/ 450 h 508"/>
                    <a:gd name="T26" fmla="*/ 414 w 509"/>
                    <a:gd name="T27" fmla="*/ 373 h 508"/>
                    <a:gd name="T28" fmla="*/ 451 w 509"/>
                    <a:gd name="T29" fmla="*/ 216 h 508"/>
                    <a:gd name="T30" fmla="*/ 364 w 509"/>
                    <a:gd name="T31" fmla="*/ 85 h 508"/>
                    <a:gd name="T32" fmla="*/ 211 w 509"/>
                    <a:gd name="T33" fmla="*/ 58 h 50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509" h="508">
                      <a:moveTo>
                        <a:pt x="219" y="7"/>
                      </a:moveTo>
                      <a:cubicBezTo>
                        <a:pt x="273" y="0"/>
                        <a:pt x="329" y="9"/>
                        <a:pt x="377" y="37"/>
                      </a:cubicBezTo>
                      <a:cubicBezTo>
                        <a:pt x="433" y="68"/>
                        <a:pt x="475" y="122"/>
                        <a:pt x="492" y="184"/>
                      </a:cubicBezTo>
                      <a:cubicBezTo>
                        <a:pt x="509" y="242"/>
                        <a:pt x="504" y="306"/>
                        <a:pt x="478" y="360"/>
                      </a:cubicBezTo>
                      <a:cubicBezTo>
                        <a:pt x="453" y="413"/>
                        <a:pt x="409" y="456"/>
                        <a:pt x="356" y="479"/>
                      </a:cubicBezTo>
                      <a:cubicBezTo>
                        <a:pt x="292" y="508"/>
                        <a:pt x="217" y="508"/>
                        <a:pt x="154" y="478"/>
                      </a:cubicBezTo>
                      <a:cubicBezTo>
                        <a:pt x="105" y="456"/>
                        <a:pt x="64" y="418"/>
                        <a:pt x="39" y="371"/>
                      </a:cubicBezTo>
                      <a:cubicBezTo>
                        <a:pt x="5" y="308"/>
                        <a:pt x="0" y="230"/>
                        <a:pt x="26" y="163"/>
                      </a:cubicBezTo>
                      <a:cubicBezTo>
                        <a:pt x="56" y="82"/>
                        <a:pt x="133" y="20"/>
                        <a:pt x="219" y="7"/>
                      </a:cubicBezTo>
                      <a:close/>
                      <a:moveTo>
                        <a:pt x="211" y="58"/>
                      </a:moveTo>
                      <a:cubicBezTo>
                        <a:pt x="126" y="77"/>
                        <a:pt x="59" y="157"/>
                        <a:pt x="58" y="244"/>
                      </a:cubicBezTo>
                      <a:cubicBezTo>
                        <a:pt x="54" y="309"/>
                        <a:pt x="85" y="374"/>
                        <a:pt x="137" y="412"/>
                      </a:cubicBezTo>
                      <a:cubicBezTo>
                        <a:pt x="178" y="443"/>
                        <a:pt x="231" y="458"/>
                        <a:pt x="281" y="450"/>
                      </a:cubicBezTo>
                      <a:cubicBezTo>
                        <a:pt x="334" y="444"/>
                        <a:pt x="382" y="415"/>
                        <a:pt x="414" y="373"/>
                      </a:cubicBezTo>
                      <a:cubicBezTo>
                        <a:pt x="447" y="329"/>
                        <a:pt x="461" y="271"/>
                        <a:pt x="451" y="216"/>
                      </a:cubicBezTo>
                      <a:cubicBezTo>
                        <a:pt x="441" y="163"/>
                        <a:pt x="409" y="114"/>
                        <a:pt x="364" y="85"/>
                      </a:cubicBezTo>
                      <a:cubicBezTo>
                        <a:pt x="319" y="56"/>
                        <a:pt x="262" y="46"/>
                        <a:pt x="211" y="5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10000"/>
                    </a:lnSpc>
                    <a:spcAft>
                      <a:spcPts val="600"/>
                    </a:spcAft>
                  </a:pPr>
                  <a:endParaRPr lang="en-US" sz="1049" dirty="0">
                    <a:solidFill>
                      <a:srgbClr val="004669"/>
                    </a:solidFill>
                    <a:latin typeface="+mj-lt"/>
                  </a:endParaRPr>
                </a:p>
              </p:txBody>
            </p:sp>
            <p:sp>
              <p:nvSpPr>
                <p:cNvPr id="52" name="Freeform 98">
                  <a:extLst>
                    <a:ext uri="{FF2B5EF4-FFF2-40B4-BE49-F238E27FC236}">
                      <a16:creationId xmlns:a16="http://schemas.microsoft.com/office/drawing/2014/main" id="{FC02BDC5-9626-86C0-CEF6-4ED4ECAC175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39311" y="5412254"/>
                  <a:ext cx="74771" cy="79069"/>
                </a:xfrm>
                <a:custGeom>
                  <a:avLst/>
                  <a:gdLst>
                    <a:gd name="T0" fmla="*/ 34 w 83"/>
                    <a:gd name="T1" fmla="*/ 10 h 88"/>
                    <a:gd name="T2" fmla="*/ 82 w 83"/>
                    <a:gd name="T3" fmla="*/ 40 h 88"/>
                    <a:gd name="T4" fmla="*/ 18 w 83"/>
                    <a:gd name="T5" fmla="*/ 66 h 88"/>
                    <a:gd name="T6" fmla="*/ 34 w 83"/>
                    <a:gd name="T7" fmla="*/ 10 h 8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83" h="88">
                      <a:moveTo>
                        <a:pt x="34" y="10"/>
                      </a:moveTo>
                      <a:cubicBezTo>
                        <a:pt x="54" y="0"/>
                        <a:pt x="83" y="16"/>
                        <a:pt x="82" y="40"/>
                      </a:cubicBezTo>
                      <a:cubicBezTo>
                        <a:pt x="81" y="71"/>
                        <a:pt x="39" y="88"/>
                        <a:pt x="18" y="66"/>
                      </a:cubicBezTo>
                      <a:cubicBezTo>
                        <a:pt x="0" y="49"/>
                        <a:pt x="12" y="18"/>
                        <a:pt x="34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10000"/>
                    </a:lnSpc>
                    <a:spcAft>
                      <a:spcPts val="600"/>
                    </a:spcAft>
                  </a:pPr>
                  <a:endParaRPr lang="en-US" sz="1049" dirty="0">
                    <a:solidFill>
                      <a:srgbClr val="004669"/>
                    </a:solidFill>
                    <a:latin typeface="+mj-lt"/>
                  </a:endParaRPr>
                </a:p>
              </p:txBody>
            </p:sp>
            <p:sp>
              <p:nvSpPr>
                <p:cNvPr id="53" name="Freeform 102">
                  <a:extLst>
                    <a:ext uri="{FF2B5EF4-FFF2-40B4-BE49-F238E27FC236}">
                      <a16:creationId xmlns:a16="http://schemas.microsoft.com/office/drawing/2014/main" id="{544CA6C8-8407-CC4E-FC02-68FD1D818AB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483448" y="5501636"/>
                  <a:ext cx="111727" cy="180483"/>
                </a:xfrm>
                <a:custGeom>
                  <a:avLst/>
                  <a:gdLst>
                    <a:gd name="T0" fmla="*/ 6 w 124"/>
                    <a:gd name="T1" fmla="*/ 34 h 201"/>
                    <a:gd name="T2" fmla="*/ 74 w 124"/>
                    <a:gd name="T3" fmla="*/ 0 h 201"/>
                    <a:gd name="T4" fmla="*/ 115 w 124"/>
                    <a:gd name="T5" fmla="*/ 29 h 201"/>
                    <a:gd name="T6" fmla="*/ 98 w 124"/>
                    <a:gd name="T7" fmla="*/ 92 h 201"/>
                    <a:gd name="T8" fmla="*/ 79 w 124"/>
                    <a:gd name="T9" fmla="*/ 156 h 201"/>
                    <a:gd name="T10" fmla="*/ 116 w 124"/>
                    <a:gd name="T11" fmla="*/ 134 h 201"/>
                    <a:gd name="T12" fmla="*/ 124 w 124"/>
                    <a:gd name="T13" fmla="*/ 146 h 201"/>
                    <a:gd name="T14" fmla="*/ 57 w 124"/>
                    <a:gd name="T15" fmla="*/ 194 h 201"/>
                    <a:gd name="T16" fmla="*/ 5 w 124"/>
                    <a:gd name="T17" fmla="*/ 177 h 201"/>
                    <a:gd name="T18" fmla="*/ 16 w 124"/>
                    <a:gd name="T19" fmla="*/ 119 h 201"/>
                    <a:gd name="T20" fmla="*/ 49 w 124"/>
                    <a:gd name="T21" fmla="*/ 32 h 201"/>
                    <a:gd name="T22" fmla="*/ 13 w 124"/>
                    <a:gd name="T23" fmla="*/ 47 h 201"/>
                    <a:gd name="T24" fmla="*/ 6 w 124"/>
                    <a:gd name="T25" fmla="*/ 34 h 20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124" h="201">
                      <a:moveTo>
                        <a:pt x="6" y="34"/>
                      </a:moveTo>
                      <a:cubicBezTo>
                        <a:pt x="25" y="17"/>
                        <a:pt x="48" y="1"/>
                        <a:pt x="74" y="0"/>
                      </a:cubicBezTo>
                      <a:cubicBezTo>
                        <a:pt x="92" y="0"/>
                        <a:pt x="112" y="10"/>
                        <a:pt x="115" y="29"/>
                      </a:cubicBezTo>
                      <a:cubicBezTo>
                        <a:pt x="117" y="51"/>
                        <a:pt x="104" y="72"/>
                        <a:pt x="98" y="92"/>
                      </a:cubicBezTo>
                      <a:cubicBezTo>
                        <a:pt x="91" y="114"/>
                        <a:pt x="79" y="134"/>
                        <a:pt x="79" y="156"/>
                      </a:cubicBezTo>
                      <a:cubicBezTo>
                        <a:pt x="95" y="157"/>
                        <a:pt x="105" y="143"/>
                        <a:pt x="116" y="134"/>
                      </a:cubicBezTo>
                      <a:cubicBezTo>
                        <a:pt x="119" y="138"/>
                        <a:pt x="122" y="142"/>
                        <a:pt x="124" y="146"/>
                      </a:cubicBezTo>
                      <a:cubicBezTo>
                        <a:pt x="105" y="165"/>
                        <a:pt x="84" y="185"/>
                        <a:pt x="57" y="194"/>
                      </a:cubicBezTo>
                      <a:cubicBezTo>
                        <a:pt x="39" y="201"/>
                        <a:pt x="12" y="198"/>
                        <a:pt x="5" y="177"/>
                      </a:cubicBezTo>
                      <a:cubicBezTo>
                        <a:pt x="0" y="157"/>
                        <a:pt x="10" y="137"/>
                        <a:pt x="16" y="119"/>
                      </a:cubicBezTo>
                      <a:cubicBezTo>
                        <a:pt x="26" y="89"/>
                        <a:pt x="42" y="62"/>
                        <a:pt x="49" y="32"/>
                      </a:cubicBezTo>
                      <a:cubicBezTo>
                        <a:pt x="34" y="25"/>
                        <a:pt x="23" y="40"/>
                        <a:pt x="13" y="47"/>
                      </a:cubicBezTo>
                      <a:cubicBezTo>
                        <a:pt x="10" y="43"/>
                        <a:pt x="8" y="38"/>
                        <a:pt x="6" y="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10000"/>
                    </a:lnSpc>
                    <a:spcAft>
                      <a:spcPts val="600"/>
                    </a:spcAft>
                  </a:pPr>
                  <a:endParaRPr lang="en-US" sz="1049" dirty="0">
                    <a:solidFill>
                      <a:srgbClr val="004669"/>
                    </a:solidFill>
                    <a:latin typeface="+mj-lt"/>
                  </a:endParaRPr>
                </a:p>
              </p:txBody>
            </p:sp>
          </p:grpSp>
        </p:grpSp>
        <p:grpSp>
          <p:nvGrpSpPr>
            <p:cNvPr id="24" name="Group 16">
              <a:extLst>
                <a:ext uri="{FF2B5EF4-FFF2-40B4-BE49-F238E27FC236}">
                  <a16:creationId xmlns:a16="http://schemas.microsoft.com/office/drawing/2014/main" id="{2613E234-692F-2CB9-8B8D-A397139D2375}"/>
                </a:ext>
              </a:extLst>
            </p:cNvPr>
            <p:cNvGrpSpPr>
              <a:grpSpLocks/>
            </p:cNvGrpSpPr>
            <p:nvPr/>
          </p:nvGrpSpPr>
          <p:grpSpPr>
            <a:xfrm>
              <a:off x="7263175" y="3876505"/>
              <a:ext cx="1243667" cy="884874"/>
              <a:chOff x="8157834" y="3357019"/>
              <a:chExt cx="1244315" cy="885335"/>
            </a:xfrm>
          </p:grpSpPr>
          <p:sp>
            <p:nvSpPr>
              <p:cNvPr id="47" name="TextBox 58">
                <a:extLst>
                  <a:ext uri="{FF2B5EF4-FFF2-40B4-BE49-F238E27FC236}">
                    <a16:creationId xmlns:a16="http://schemas.microsoft.com/office/drawing/2014/main" id="{043540C1-E484-5DE0-1A44-92B4FFE8A7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157834" y="3357019"/>
                <a:ext cx="1244315" cy="24981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1599" i="1" dirty="0">
                    <a:solidFill>
                      <a:srgbClr val="004669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Data Analysis</a:t>
                </a:r>
              </a:p>
            </p:txBody>
          </p:sp>
          <p:sp>
            <p:nvSpPr>
              <p:cNvPr id="48" name="Freeform 68">
                <a:extLst>
                  <a:ext uri="{FF2B5EF4-FFF2-40B4-BE49-F238E27FC236}">
                    <a16:creationId xmlns:a16="http://schemas.microsoft.com/office/drawing/2014/main" id="{C8FCCA20-09A5-3DD7-1389-E5436498ABCC}"/>
                  </a:ext>
                </a:extLst>
              </p:cNvPr>
              <p:cNvSpPr>
                <a:spLocks noEditPoint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8534723" y="3751816"/>
                <a:ext cx="490537" cy="490538"/>
              </a:xfrm>
              <a:custGeom>
                <a:avLst/>
                <a:gdLst>
                  <a:gd name="T0" fmla="*/ 155 w 1063"/>
                  <a:gd name="T1" fmla="*/ 147 h 1063"/>
                  <a:gd name="T2" fmla="*/ 706 w 1063"/>
                  <a:gd name="T3" fmla="*/ 147 h 1063"/>
                  <a:gd name="T4" fmla="*/ 722 w 1063"/>
                  <a:gd name="T5" fmla="*/ 675 h 1063"/>
                  <a:gd name="T6" fmla="*/ 869 w 1063"/>
                  <a:gd name="T7" fmla="*/ 729 h 1063"/>
                  <a:gd name="T8" fmla="*/ 1032 w 1063"/>
                  <a:gd name="T9" fmla="*/ 892 h 1063"/>
                  <a:gd name="T10" fmla="*/ 1024 w 1063"/>
                  <a:gd name="T11" fmla="*/ 1024 h 1063"/>
                  <a:gd name="T12" fmla="*/ 900 w 1063"/>
                  <a:gd name="T13" fmla="*/ 1032 h 1063"/>
                  <a:gd name="T14" fmla="*/ 729 w 1063"/>
                  <a:gd name="T15" fmla="*/ 869 h 1063"/>
                  <a:gd name="T16" fmla="*/ 683 w 1063"/>
                  <a:gd name="T17" fmla="*/ 722 h 1063"/>
                  <a:gd name="T18" fmla="*/ 155 w 1063"/>
                  <a:gd name="T19" fmla="*/ 698 h 1063"/>
                  <a:gd name="T20" fmla="*/ 155 w 1063"/>
                  <a:gd name="T21" fmla="*/ 147 h 1063"/>
                  <a:gd name="T22" fmla="*/ 424 w 1063"/>
                  <a:gd name="T23" fmla="*/ 135 h 1063"/>
                  <a:gd name="T24" fmla="*/ 712 w 1063"/>
                  <a:gd name="T25" fmla="*/ 423 h 1063"/>
                  <a:gd name="T26" fmla="*/ 424 w 1063"/>
                  <a:gd name="T27" fmla="*/ 711 h 1063"/>
                  <a:gd name="T28" fmla="*/ 137 w 1063"/>
                  <a:gd name="T29" fmla="*/ 423 h 1063"/>
                  <a:gd name="T30" fmla="*/ 424 w 1063"/>
                  <a:gd name="T31" fmla="*/ 135 h 10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63" h="1063">
                    <a:moveTo>
                      <a:pt x="155" y="147"/>
                    </a:moveTo>
                    <a:cubicBezTo>
                      <a:pt x="303" y="0"/>
                      <a:pt x="551" y="0"/>
                      <a:pt x="706" y="147"/>
                    </a:cubicBezTo>
                    <a:cubicBezTo>
                      <a:pt x="846" y="295"/>
                      <a:pt x="838" y="535"/>
                      <a:pt x="722" y="675"/>
                    </a:cubicBezTo>
                    <a:lnTo>
                      <a:pt x="869" y="729"/>
                    </a:lnTo>
                    <a:lnTo>
                      <a:pt x="1032" y="892"/>
                    </a:lnTo>
                    <a:cubicBezTo>
                      <a:pt x="1063" y="931"/>
                      <a:pt x="1063" y="985"/>
                      <a:pt x="1024" y="1024"/>
                    </a:cubicBezTo>
                    <a:cubicBezTo>
                      <a:pt x="993" y="1055"/>
                      <a:pt x="939" y="1063"/>
                      <a:pt x="900" y="1032"/>
                    </a:cubicBezTo>
                    <a:lnTo>
                      <a:pt x="729" y="869"/>
                    </a:lnTo>
                    <a:lnTo>
                      <a:pt x="683" y="722"/>
                    </a:lnTo>
                    <a:cubicBezTo>
                      <a:pt x="535" y="838"/>
                      <a:pt x="295" y="845"/>
                      <a:pt x="155" y="698"/>
                    </a:cubicBezTo>
                    <a:cubicBezTo>
                      <a:pt x="0" y="551"/>
                      <a:pt x="0" y="303"/>
                      <a:pt x="155" y="147"/>
                    </a:cubicBezTo>
                    <a:close/>
                    <a:moveTo>
                      <a:pt x="424" y="135"/>
                    </a:moveTo>
                    <a:cubicBezTo>
                      <a:pt x="583" y="135"/>
                      <a:pt x="712" y="264"/>
                      <a:pt x="712" y="423"/>
                    </a:cubicBezTo>
                    <a:cubicBezTo>
                      <a:pt x="712" y="582"/>
                      <a:pt x="583" y="711"/>
                      <a:pt x="424" y="711"/>
                    </a:cubicBezTo>
                    <a:cubicBezTo>
                      <a:pt x="266" y="711"/>
                      <a:pt x="137" y="582"/>
                      <a:pt x="137" y="423"/>
                    </a:cubicBezTo>
                    <a:cubicBezTo>
                      <a:pt x="137" y="264"/>
                      <a:pt x="266" y="135"/>
                      <a:pt x="424" y="135"/>
                    </a:cubicBezTo>
                    <a:close/>
                  </a:path>
                </a:pathLst>
              </a:custGeom>
              <a:solidFill>
                <a:srgbClr val="004669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Aft>
                    <a:spcPts val="600"/>
                  </a:spcAft>
                </a:pPr>
                <a:endParaRPr lang="en-US" sz="1049" dirty="0">
                  <a:solidFill>
                    <a:srgbClr val="004669"/>
                  </a:solidFill>
                </a:endParaRPr>
              </a:p>
            </p:txBody>
          </p:sp>
        </p:grpSp>
        <p:grpSp>
          <p:nvGrpSpPr>
            <p:cNvPr id="25" name="Group 15">
              <a:extLst>
                <a:ext uri="{FF2B5EF4-FFF2-40B4-BE49-F238E27FC236}">
                  <a16:creationId xmlns:a16="http://schemas.microsoft.com/office/drawing/2014/main" id="{8A44532F-6434-5176-C2F2-52FB3D8EB280}"/>
                </a:ext>
              </a:extLst>
            </p:cNvPr>
            <p:cNvGrpSpPr>
              <a:grpSpLocks/>
            </p:cNvGrpSpPr>
            <p:nvPr/>
          </p:nvGrpSpPr>
          <p:grpSpPr>
            <a:xfrm>
              <a:off x="4399568" y="3876505"/>
              <a:ext cx="1549297" cy="891600"/>
              <a:chOff x="5396131" y="3357019"/>
              <a:chExt cx="1550104" cy="892065"/>
            </a:xfrm>
          </p:grpSpPr>
          <p:sp>
            <p:nvSpPr>
              <p:cNvPr id="32" name="TextBox 36">
                <a:extLst>
                  <a:ext uri="{FF2B5EF4-FFF2-40B4-BE49-F238E27FC236}">
                    <a16:creationId xmlns:a16="http://schemas.microsoft.com/office/drawing/2014/main" id="{5C152A55-0004-9198-E4B7-3DA6C4BD2A7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96131" y="3357019"/>
                <a:ext cx="1550104" cy="24981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1599" i="1" dirty="0">
                    <a:solidFill>
                      <a:srgbClr val="004669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Data Preparation</a:t>
                </a:r>
              </a:p>
            </p:txBody>
          </p:sp>
          <p:grpSp>
            <p:nvGrpSpPr>
              <p:cNvPr id="33" name="Group 12">
                <a:extLst>
                  <a:ext uri="{FF2B5EF4-FFF2-40B4-BE49-F238E27FC236}">
                    <a16:creationId xmlns:a16="http://schemas.microsoft.com/office/drawing/2014/main" id="{6DBFDB0B-AB15-6D06-1004-6BDB0D6BE257}"/>
                  </a:ext>
                </a:extLst>
              </p:cNvPr>
              <p:cNvGrpSpPr>
                <a:grpSpLocks/>
              </p:cNvGrpSpPr>
              <p:nvPr>
                <p:custDataLst>
                  <p:tags r:id="rId16"/>
                </p:custDataLst>
              </p:nvPr>
            </p:nvGrpSpPr>
            <p:grpSpPr>
              <a:xfrm>
                <a:off x="5865183" y="3745084"/>
                <a:ext cx="612000" cy="504000"/>
                <a:chOff x="5865183" y="3745084"/>
                <a:chExt cx="612000" cy="504000"/>
              </a:xfrm>
            </p:grpSpPr>
            <p:sp>
              <p:nvSpPr>
                <p:cNvPr id="34" name="Freeform 38">
                  <a:extLst>
                    <a:ext uri="{FF2B5EF4-FFF2-40B4-BE49-F238E27FC236}">
                      <a16:creationId xmlns:a16="http://schemas.microsoft.com/office/drawing/2014/main" id="{0131E30F-BB23-4D74-9ADC-53D1EA2D7C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198277" y="3927596"/>
                  <a:ext cx="278906" cy="242792"/>
                </a:xfrm>
                <a:custGeom>
                  <a:avLst/>
                  <a:gdLst>
                    <a:gd name="T0" fmla="*/ 71 w 1028"/>
                    <a:gd name="T1" fmla="*/ 161 h 850"/>
                    <a:gd name="T2" fmla="*/ 284 w 1028"/>
                    <a:gd name="T3" fmla="*/ 18 h 850"/>
                    <a:gd name="T4" fmla="*/ 309 w 1028"/>
                    <a:gd name="T5" fmla="*/ 13 h 850"/>
                    <a:gd name="T6" fmla="*/ 564 w 1028"/>
                    <a:gd name="T7" fmla="*/ 66 h 850"/>
                    <a:gd name="T8" fmla="*/ 670 w 1028"/>
                    <a:gd name="T9" fmla="*/ 539 h 850"/>
                    <a:gd name="T10" fmla="*/ 811 w 1028"/>
                    <a:gd name="T11" fmla="*/ 562 h 850"/>
                    <a:gd name="T12" fmla="*/ 985 w 1028"/>
                    <a:gd name="T13" fmla="*/ 680 h 850"/>
                    <a:gd name="T14" fmla="*/ 1000 w 1028"/>
                    <a:gd name="T15" fmla="*/ 799 h 850"/>
                    <a:gd name="T16" fmla="*/ 891 w 1028"/>
                    <a:gd name="T17" fmla="*/ 828 h 850"/>
                    <a:gd name="T18" fmla="*/ 709 w 1028"/>
                    <a:gd name="T19" fmla="*/ 712 h 850"/>
                    <a:gd name="T20" fmla="*/ 643 w 1028"/>
                    <a:gd name="T21" fmla="*/ 588 h 850"/>
                    <a:gd name="T22" fmla="*/ 167 w 1028"/>
                    <a:gd name="T23" fmla="*/ 658 h 850"/>
                    <a:gd name="T24" fmla="*/ 18 w 1028"/>
                    <a:gd name="T25" fmla="*/ 444 h 850"/>
                    <a:gd name="T26" fmla="*/ 13 w 1028"/>
                    <a:gd name="T27" fmla="*/ 421 h 850"/>
                    <a:gd name="T28" fmla="*/ 71 w 1028"/>
                    <a:gd name="T29" fmla="*/ 161 h 850"/>
                    <a:gd name="T30" fmla="*/ 310 w 1028"/>
                    <a:gd name="T31" fmla="*/ 105 h 850"/>
                    <a:gd name="T32" fmla="*/ 617 w 1028"/>
                    <a:gd name="T33" fmla="*/ 313 h 850"/>
                    <a:gd name="T34" fmla="*/ 409 w 1028"/>
                    <a:gd name="T35" fmla="*/ 622 h 850"/>
                    <a:gd name="T36" fmla="*/ 103 w 1028"/>
                    <a:gd name="T37" fmla="*/ 413 h 850"/>
                    <a:gd name="T38" fmla="*/ 310 w 1028"/>
                    <a:gd name="T39" fmla="*/ 105 h 8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028" h="850">
                      <a:moveTo>
                        <a:pt x="71" y="161"/>
                      </a:moveTo>
                      <a:cubicBezTo>
                        <a:pt x="122" y="87"/>
                        <a:pt x="200" y="37"/>
                        <a:pt x="284" y="18"/>
                      </a:cubicBezTo>
                      <a:lnTo>
                        <a:pt x="309" y="13"/>
                      </a:lnTo>
                      <a:cubicBezTo>
                        <a:pt x="394" y="0"/>
                        <a:pt x="486" y="16"/>
                        <a:pt x="564" y="66"/>
                      </a:cubicBezTo>
                      <a:cubicBezTo>
                        <a:pt x="715" y="175"/>
                        <a:pt x="749" y="392"/>
                        <a:pt x="670" y="539"/>
                      </a:cubicBezTo>
                      <a:lnTo>
                        <a:pt x="811" y="562"/>
                      </a:lnTo>
                      <a:lnTo>
                        <a:pt x="985" y="680"/>
                      </a:lnTo>
                      <a:cubicBezTo>
                        <a:pt x="1019" y="710"/>
                        <a:pt x="1028" y="758"/>
                        <a:pt x="1000" y="799"/>
                      </a:cubicBezTo>
                      <a:cubicBezTo>
                        <a:pt x="978" y="834"/>
                        <a:pt x="931" y="850"/>
                        <a:pt x="891" y="828"/>
                      </a:cubicBezTo>
                      <a:lnTo>
                        <a:pt x="709" y="712"/>
                      </a:lnTo>
                      <a:lnTo>
                        <a:pt x="643" y="588"/>
                      </a:lnTo>
                      <a:cubicBezTo>
                        <a:pt x="531" y="718"/>
                        <a:pt x="317" y="765"/>
                        <a:pt x="167" y="658"/>
                      </a:cubicBezTo>
                      <a:cubicBezTo>
                        <a:pt x="88" y="608"/>
                        <a:pt x="37" y="530"/>
                        <a:pt x="18" y="444"/>
                      </a:cubicBezTo>
                      <a:lnTo>
                        <a:pt x="13" y="421"/>
                      </a:lnTo>
                      <a:cubicBezTo>
                        <a:pt x="0" y="334"/>
                        <a:pt x="18" y="242"/>
                        <a:pt x="71" y="161"/>
                      </a:cubicBezTo>
                      <a:close/>
                      <a:moveTo>
                        <a:pt x="310" y="105"/>
                      </a:moveTo>
                      <a:cubicBezTo>
                        <a:pt x="452" y="77"/>
                        <a:pt x="589" y="170"/>
                        <a:pt x="617" y="313"/>
                      </a:cubicBezTo>
                      <a:cubicBezTo>
                        <a:pt x="645" y="457"/>
                        <a:pt x="551" y="595"/>
                        <a:pt x="409" y="622"/>
                      </a:cubicBezTo>
                      <a:cubicBezTo>
                        <a:pt x="268" y="650"/>
                        <a:pt x="130" y="556"/>
                        <a:pt x="103" y="413"/>
                      </a:cubicBezTo>
                      <a:cubicBezTo>
                        <a:pt x="75" y="270"/>
                        <a:pt x="168" y="132"/>
                        <a:pt x="310" y="105"/>
                      </a:cubicBezTo>
                      <a:close/>
                    </a:path>
                  </a:pathLst>
                </a:custGeom>
                <a:solidFill>
                  <a:srgbClr val="0046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spcAft>
                      <a:spcPts val="600"/>
                    </a:spcAft>
                  </a:pPr>
                  <a:endParaRPr lang="en-US" sz="1049" dirty="0">
                    <a:solidFill>
                      <a:srgbClr val="004669"/>
                    </a:solidFill>
                  </a:endParaRPr>
                </a:p>
              </p:txBody>
            </p:sp>
            <p:sp>
              <p:nvSpPr>
                <p:cNvPr id="35" name="Freeform 39">
                  <a:extLst>
                    <a:ext uri="{FF2B5EF4-FFF2-40B4-BE49-F238E27FC236}">
                      <a16:creationId xmlns:a16="http://schemas.microsoft.com/office/drawing/2014/main" id="{9A4F6E3C-ED79-2B64-F708-99C155B1AD4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064402" y="3788619"/>
                  <a:ext cx="127500" cy="78699"/>
                </a:xfrm>
                <a:custGeom>
                  <a:avLst/>
                  <a:gdLst>
                    <a:gd name="T0" fmla="*/ 208 w 469"/>
                    <a:gd name="T1" fmla="*/ 277 h 277"/>
                    <a:gd name="T2" fmla="*/ 299 w 469"/>
                    <a:gd name="T3" fmla="*/ 182 h 277"/>
                    <a:gd name="T4" fmla="*/ 42 w 469"/>
                    <a:gd name="T5" fmla="*/ 182 h 277"/>
                    <a:gd name="T6" fmla="*/ 0 w 469"/>
                    <a:gd name="T7" fmla="*/ 141 h 277"/>
                    <a:gd name="T8" fmla="*/ 0 w 469"/>
                    <a:gd name="T9" fmla="*/ 140 h 277"/>
                    <a:gd name="T10" fmla="*/ 42 w 469"/>
                    <a:gd name="T11" fmla="*/ 98 h 277"/>
                    <a:gd name="T12" fmla="*/ 302 w 469"/>
                    <a:gd name="T13" fmla="*/ 98 h 277"/>
                    <a:gd name="T14" fmla="*/ 208 w 469"/>
                    <a:gd name="T15" fmla="*/ 0 h 277"/>
                    <a:gd name="T16" fmla="*/ 336 w 469"/>
                    <a:gd name="T17" fmla="*/ 0 h 277"/>
                    <a:gd name="T18" fmla="*/ 469 w 469"/>
                    <a:gd name="T19" fmla="*/ 139 h 277"/>
                    <a:gd name="T20" fmla="*/ 336 w 469"/>
                    <a:gd name="T21" fmla="*/ 277 h 277"/>
                    <a:gd name="T22" fmla="*/ 208 w 469"/>
                    <a:gd name="T23" fmla="*/ 277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69" h="277">
                      <a:moveTo>
                        <a:pt x="208" y="277"/>
                      </a:moveTo>
                      <a:lnTo>
                        <a:pt x="299" y="182"/>
                      </a:lnTo>
                      <a:lnTo>
                        <a:pt x="42" y="182"/>
                      </a:lnTo>
                      <a:cubicBezTo>
                        <a:pt x="19" y="182"/>
                        <a:pt x="0" y="164"/>
                        <a:pt x="0" y="141"/>
                      </a:cubicBezTo>
                      <a:lnTo>
                        <a:pt x="0" y="140"/>
                      </a:lnTo>
                      <a:cubicBezTo>
                        <a:pt x="0" y="117"/>
                        <a:pt x="19" y="98"/>
                        <a:pt x="42" y="98"/>
                      </a:cubicBezTo>
                      <a:lnTo>
                        <a:pt x="302" y="98"/>
                      </a:lnTo>
                      <a:lnTo>
                        <a:pt x="208" y="0"/>
                      </a:lnTo>
                      <a:lnTo>
                        <a:pt x="336" y="0"/>
                      </a:lnTo>
                      <a:lnTo>
                        <a:pt x="469" y="139"/>
                      </a:lnTo>
                      <a:lnTo>
                        <a:pt x="336" y="277"/>
                      </a:lnTo>
                      <a:lnTo>
                        <a:pt x="208" y="277"/>
                      </a:lnTo>
                      <a:close/>
                    </a:path>
                  </a:pathLst>
                </a:custGeom>
                <a:solidFill>
                  <a:srgbClr val="0046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spcAft>
                      <a:spcPts val="600"/>
                    </a:spcAft>
                  </a:pPr>
                  <a:endParaRPr lang="en-US" sz="1049" dirty="0">
                    <a:solidFill>
                      <a:srgbClr val="004669"/>
                    </a:solidFill>
                  </a:endParaRPr>
                </a:p>
              </p:txBody>
            </p:sp>
            <p:sp>
              <p:nvSpPr>
                <p:cNvPr id="36" name="Freeform 40">
                  <a:extLst>
                    <a:ext uri="{FF2B5EF4-FFF2-40B4-BE49-F238E27FC236}">
                      <a16:creationId xmlns:a16="http://schemas.microsoft.com/office/drawing/2014/main" id="{B4E475E1-04BA-D99A-40BA-D0A524AFFDA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048464" y="4059875"/>
                  <a:ext cx="159375" cy="83721"/>
                </a:xfrm>
                <a:custGeom>
                  <a:avLst/>
                  <a:gdLst>
                    <a:gd name="T0" fmla="*/ 271 w 586"/>
                    <a:gd name="T1" fmla="*/ 5 h 291"/>
                    <a:gd name="T2" fmla="*/ 544 w 586"/>
                    <a:gd name="T3" fmla="*/ 68 h 291"/>
                    <a:gd name="T4" fmla="*/ 586 w 586"/>
                    <a:gd name="T5" fmla="*/ 138 h 291"/>
                    <a:gd name="T6" fmla="*/ 477 w 586"/>
                    <a:gd name="T7" fmla="*/ 243 h 291"/>
                    <a:gd name="T8" fmla="*/ 40 w 586"/>
                    <a:gd name="T9" fmla="*/ 204 h 291"/>
                    <a:gd name="T10" fmla="*/ 0 w 586"/>
                    <a:gd name="T11" fmla="*/ 137 h 291"/>
                    <a:gd name="T12" fmla="*/ 101 w 586"/>
                    <a:gd name="T13" fmla="*/ 37 h 291"/>
                    <a:gd name="T14" fmla="*/ 271 w 586"/>
                    <a:gd name="T15" fmla="*/ 5 h 2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6" h="291">
                      <a:moveTo>
                        <a:pt x="271" y="5"/>
                      </a:moveTo>
                      <a:cubicBezTo>
                        <a:pt x="376" y="0"/>
                        <a:pt x="481" y="21"/>
                        <a:pt x="544" y="68"/>
                      </a:cubicBezTo>
                      <a:cubicBezTo>
                        <a:pt x="565" y="84"/>
                        <a:pt x="586" y="109"/>
                        <a:pt x="586" y="138"/>
                      </a:cubicBezTo>
                      <a:cubicBezTo>
                        <a:pt x="586" y="193"/>
                        <a:pt x="522" y="227"/>
                        <a:pt x="477" y="243"/>
                      </a:cubicBezTo>
                      <a:cubicBezTo>
                        <a:pt x="341" y="291"/>
                        <a:pt x="137" y="281"/>
                        <a:pt x="40" y="204"/>
                      </a:cubicBezTo>
                      <a:cubicBezTo>
                        <a:pt x="21" y="189"/>
                        <a:pt x="0" y="167"/>
                        <a:pt x="0" y="137"/>
                      </a:cubicBezTo>
                      <a:cubicBezTo>
                        <a:pt x="1" y="84"/>
                        <a:pt x="60" y="54"/>
                        <a:pt x="101" y="37"/>
                      </a:cubicBezTo>
                      <a:cubicBezTo>
                        <a:pt x="151" y="17"/>
                        <a:pt x="204" y="9"/>
                        <a:pt x="271" y="5"/>
                      </a:cubicBezTo>
                      <a:close/>
                    </a:path>
                  </a:pathLst>
                </a:custGeom>
                <a:solidFill>
                  <a:srgbClr val="0046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spcAft>
                      <a:spcPts val="600"/>
                    </a:spcAft>
                  </a:pPr>
                  <a:endParaRPr lang="en-US" sz="1049" dirty="0">
                    <a:solidFill>
                      <a:srgbClr val="004669"/>
                    </a:solidFill>
                  </a:endParaRPr>
                </a:p>
              </p:txBody>
            </p:sp>
            <p:sp>
              <p:nvSpPr>
                <p:cNvPr id="37" name="Freeform 41">
                  <a:extLst>
                    <a:ext uri="{FF2B5EF4-FFF2-40B4-BE49-F238E27FC236}">
                      <a16:creationId xmlns:a16="http://schemas.microsoft.com/office/drawing/2014/main" id="{4C716908-D031-4317-8452-9D1EA153FDA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046871" y="4130200"/>
                  <a:ext cx="162562" cy="66977"/>
                </a:xfrm>
                <a:custGeom>
                  <a:avLst/>
                  <a:gdLst>
                    <a:gd name="T0" fmla="*/ 26 w 596"/>
                    <a:gd name="T1" fmla="*/ 1 h 233"/>
                    <a:gd name="T2" fmla="*/ 568 w 596"/>
                    <a:gd name="T3" fmla="*/ 0 h 233"/>
                    <a:gd name="T4" fmla="*/ 568 w 596"/>
                    <a:gd name="T5" fmla="*/ 125 h 233"/>
                    <a:gd name="T6" fmla="*/ 122 w 596"/>
                    <a:gd name="T7" fmla="*/ 185 h 233"/>
                    <a:gd name="T8" fmla="*/ 14 w 596"/>
                    <a:gd name="T9" fmla="*/ 107 h 233"/>
                    <a:gd name="T10" fmla="*/ 26 w 596"/>
                    <a:gd name="T11" fmla="*/ 1 h 2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96" h="233">
                      <a:moveTo>
                        <a:pt x="26" y="1"/>
                      </a:moveTo>
                      <a:cubicBezTo>
                        <a:pt x="151" y="93"/>
                        <a:pt x="443" y="94"/>
                        <a:pt x="568" y="0"/>
                      </a:cubicBezTo>
                      <a:cubicBezTo>
                        <a:pt x="596" y="28"/>
                        <a:pt x="589" y="99"/>
                        <a:pt x="568" y="125"/>
                      </a:cubicBezTo>
                      <a:cubicBezTo>
                        <a:pt x="494" y="216"/>
                        <a:pt x="257" y="233"/>
                        <a:pt x="122" y="185"/>
                      </a:cubicBezTo>
                      <a:cubicBezTo>
                        <a:pt x="78" y="169"/>
                        <a:pt x="30" y="142"/>
                        <a:pt x="14" y="107"/>
                      </a:cubicBezTo>
                      <a:cubicBezTo>
                        <a:pt x="0" y="80"/>
                        <a:pt x="9" y="12"/>
                        <a:pt x="26" y="1"/>
                      </a:cubicBezTo>
                      <a:close/>
                    </a:path>
                  </a:pathLst>
                </a:custGeom>
                <a:solidFill>
                  <a:srgbClr val="0046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spcAft>
                      <a:spcPts val="600"/>
                    </a:spcAft>
                  </a:pPr>
                  <a:endParaRPr lang="en-US" sz="1049" dirty="0">
                    <a:solidFill>
                      <a:srgbClr val="004669"/>
                    </a:solidFill>
                  </a:endParaRPr>
                </a:p>
              </p:txBody>
            </p:sp>
            <p:sp>
              <p:nvSpPr>
                <p:cNvPr id="38" name="Freeform 42">
                  <a:extLst>
                    <a:ext uri="{FF2B5EF4-FFF2-40B4-BE49-F238E27FC236}">
                      <a16:creationId xmlns:a16="http://schemas.microsoft.com/office/drawing/2014/main" id="{D49B8714-635A-F156-7F7B-5111ADEFACA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046871" y="4182107"/>
                  <a:ext cx="162562" cy="66977"/>
                </a:xfrm>
                <a:custGeom>
                  <a:avLst/>
                  <a:gdLst>
                    <a:gd name="T0" fmla="*/ 26 w 596"/>
                    <a:gd name="T1" fmla="*/ 1 h 233"/>
                    <a:gd name="T2" fmla="*/ 568 w 596"/>
                    <a:gd name="T3" fmla="*/ 0 h 233"/>
                    <a:gd name="T4" fmla="*/ 568 w 596"/>
                    <a:gd name="T5" fmla="*/ 126 h 233"/>
                    <a:gd name="T6" fmla="*/ 122 w 596"/>
                    <a:gd name="T7" fmla="*/ 185 h 233"/>
                    <a:gd name="T8" fmla="*/ 14 w 596"/>
                    <a:gd name="T9" fmla="*/ 107 h 233"/>
                    <a:gd name="T10" fmla="*/ 26 w 596"/>
                    <a:gd name="T11" fmla="*/ 1 h 2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96" h="233">
                      <a:moveTo>
                        <a:pt x="26" y="1"/>
                      </a:moveTo>
                      <a:cubicBezTo>
                        <a:pt x="151" y="93"/>
                        <a:pt x="443" y="95"/>
                        <a:pt x="568" y="0"/>
                      </a:cubicBezTo>
                      <a:cubicBezTo>
                        <a:pt x="596" y="28"/>
                        <a:pt x="589" y="100"/>
                        <a:pt x="568" y="126"/>
                      </a:cubicBezTo>
                      <a:cubicBezTo>
                        <a:pt x="494" y="216"/>
                        <a:pt x="257" y="233"/>
                        <a:pt x="122" y="185"/>
                      </a:cubicBezTo>
                      <a:cubicBezTo>
                        <a:pt x="78" y="169"/>
                        <a:pt x="30" y="143"/>
                        <a:pt x="14" y="107"/>
                      </a:cubicBezTo>
                      <a:cubicBezTo>
                        <a:pt x="0" y="80"/>
                        <a:pt x="9" y="13"/>
                        <a:pt x="26" y="1"/>
                      </a:cubicBezTo>
                      <a:close/>
                    </a:path>
                  </a:pathLst>
                </a:custGeom>
                <a:solidFill>
                  <a:srgbClr val="0046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spcAft>
                      <a:spcPts val="600"/>
                    </a:spcAft>
                  </a:pPr>
                  <a:endParaRPr lang="en-US" sz="1049" dirty="0">
                    <a:solidFill>
                      <a:srgbClr val="004669"/>
                    </a:solidFill>
                  </a:endParaRPr>
                </a:p>
              </p:txBody>
            </p:sp>
            <p:sp>
              <p:nvSpPr>
                <p:cNvPr id="39" name="Freeform 43">
                  <a:extLst>
                    <a:ext uri="{FF2B5EF4-FFF2-40B4-BE49-F238E27FC236}">
                      <a16:creationId xmlns:a16="http://schemas.microsoft.com/office/drawing/2014/main" id="{0AD66749-9DB9-FDA1-1036-7F423F7A7C3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866777" y="3745084"/>
                  <a:ext cx="159375" cy="83721"/>
                </a:xfrm>
                <a:custGeom>
                  <a:avLst/>
                  <a:gdLst>
                    <a:gd name="T0" fmla="*/ 271 w 586"/>
                    <a:gd name="T1" fmla="*/ 5 h 291"/>
                    <a:gd name="T2" fmla="*/ 544 w 586"/>
                    <a:gd name="T3" fmla="*/ 68 h 291"/>
                    <a:gd name="T4" fmla="*/ 586 w 586"/>
                    <a:gd name="T5" fmla="*/ 137 h 291"/>
                    <a:gd name="T6" fmla="*/ 476 w 586"/>
                    <a:gd name="T7" fmla="*/ 242 h 291"/>
                    <a:gd name="T8" fmla="*/ 40 w 586"/>
                    <a:gd name="T9" fmla="*/ 203 h 291"/>
                    <a:gd name="T10" fmla="*/ 0 w 586"/>
                    <a:gd name="T11" fmla="*/ 136 h 291"/>
                    <a:gd name="T12" fmla="*/ 100 w 586"/>
                    <a:gd name="T13" fmla="*/ 37 h 291"/>
                    <a:gd name="T14" fmla="*/ 271 w 586"/>
                    <a:gd name="T15" fmla="*/ 5 h 2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6" h="291">
                      <a:moveTo>
                        <a:pt x="271" y="5"/>
                      </a:moveTo>
                      <a:cubicBezTo>
                        <a:pt x="375" y="0"/>
                        <a:pt x="481" y="20"/>
                        <a:pt x="544" y="68"/>
                      </a:cubicBezTo>
                      <a:cubicBezTo>
                        <a:pt x="564" y="83"/>
                        <a:pt x="586" y="108"/>
                        <a:pt x="586" y="137"/>
                      </a:cubicBezTo>
                      <a:cubicBezTo>
                        <a:pt x="586" y="192"/>
                        <a:pt x="521" y="226"/>
                        <a:pt x="476" y="242"/>
                      </a:cubicBezTo>
                      <a:cubicBezTo>
                        <a:pt x="341" y="291"/>
                        <a:pt x="136" y="281"/>
                        <a:pt x="40" y="203"/>
                      </a:cubicBezTo>
                      <a:cubicBezTo>
                        <a:pt x="20" y="188"/>
                        <a:pt x="0" y="166"/>
                        <a:pt x="0" y="136"/>
                      </a:cubicBezTo>
                      <a:cubicBezTo>
                        <a:pt x="1" y="83"/>
                        <a:pt x="60" y="53"/>
                        <a:pt x="100" y="37"/>
                      </a:cubicBezTo>
                      <a:cubicBezTo>
                        <a:pt x="151" y="17"/>
                        <a:pt x="204" y="8"/>
                        <a:pt x="271" y="5"/>
                      </a:cubicBezTo>
                      <a:close/>
                    </a:path>
                  </a:pathLst>
                </a:custGeom>
                <a:solidFill>
                  <a:srgbClr val="0046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spcAft>
                      <a:spcPts val="600"/>
                    </a:spcAft>
                  </a:pPr>
                  <a:endParaRPr lang="en-US" sz="1049" dirty="0">
                    <a:solidFill>
                      <a:srgbClr val="004669"/>
                    </a:solidFill>
                  </a:endParaRPr>
                </a:p>
              </p:txBody>
            </p:sp>
            <p:sp>
              <p:nvSpPr>
                <p:cNvPr id="40" name="Freeform 44">
                  <a:extLst>
                    <a:ext uri="{FF2B5EF4-FFF2-40B4-BE49-F238E27FC236}">
                      <a16:creationId xmlns:a16="http://schemas.microsoft.com/office/drawing/2014/main" id="{01039E61-9C46-23AA-720E-73DEBB9DA89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865183" y="3815409"/>
                  <a:ext cx="162562" cy="65303"/>
                </a:xfrm>
                <a:custGeom>
                  <a:avLst/>
                  <a:gdLst>
                    <a:gd name="T0" fmla="*/ 25 w 596"/>
                    <a:gd name="T1" fmla="*/ 1 h 233"/>
                    <a:gd name="T2" fmla="*/ 567 w 596"/>
                    <a:gd name="T3" fmla="*/ 0 h 233"/>
                    <a:gd name="T4" fmla="*/ 567 w 596"/>
                    <a:gd name="T5" fmla="*/ 126 h 233"/>
                    <a:gd name="T6" fmla="*/ 122 w 596"/>
                    <a:gd name="T7" fmla="*/ 185 h 233"/>
                    <a:gd name="T8" fmla="*/ 13 w 596"/>
                    <a:gd name="T9" fmla="*/ 107 h 233"/>
                    <a:gd name="T10" fmla="*/ 25 w 596"/>
                    <a:gd name="T11" fmla="*/ 1 h 2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96" h="233">
                      <a:moveTo>
                        <a:pt x="25" y="1"/>
                      </a:moveTo>
                      <a:cubicBezTo>
                        <a:pt x="151" y="93"/>
                        <a:pt x="442" y="95"/>
                        <a:pt x="567" y="0"/>
                      </a:cubicBezTo>
                      <a:cubicBezTo>
                        <a:pt x="596" y="28"/>
                        <a:pt x="589" y="100"/>
                        <a:pt x="567" y="126"/>
                      </a:cubicBezTo>
                      <a:cubicBezTo>
                        <a:pt x="494" y="216"/>
                        <a:pt x="256" y="233"/>
                        <a:pt x="122" y="185"/>
                      </a:cubicBezTo>
                      <a:cubicBezTo>
                        <a:pt x="78" y="169"/>
                        <a:pt x="30" y="143"/>
                        <a:pt x="13" y="107"/>
                      </a:cubicBezTo>
                      <a:cubicBezTo>
                        <a:pt x="0" y="80"/>
                        <a:pt x="9" y="12"/>
                        <a:pt x="25" y="1"/>
                      </a:cubicBezTo>
                      <a:close/>
                    </a:path>
                  </a:pathLst>
                </a:custGeom>
                <a:solidFill>
                  <a:srgbClr val="0046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spcAft>
                      <a:spcPts val="600"/>
                    </a:spcAft>
                  </a:pPr>
                  <a:endParaRPr lang="en-US" sz="1049" dirty="0">
                    <a:solidFill>
                      <a:srgbClr val="004669"/>
                    </a:solidFill>
                  </a:endParaRPr>
                </a:p>
              </p:txBody>
            </p:sp>
            <p:sp>
              <p:nvSpPr>
                <p:cNvPr id="41" name="Freeform 45">
                  <a:extLst>
                    <a:ext uri="{FF2B5EF4-FFF2-40B4-BE49-F238E27FC236}">
                      <a16:creationId xmlns:a16="http://schemas.microsoft.com/office/drawing/2014/main" id="{BDBE9E64-08D4-6F0F-3B64-779C12404D1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865183" y="3867316"/>
                  <a:ext cx="162562" cy="65303"/>
                </a:xfrm>
                <a:custGeom>
                  <a:avLst/>
                  <a:gdLst>
                    <a:gd name="T0" fmla="*/ 25 w 596"/>
                    <a:gd name="T1" fmla="*/ 1 h 232"/>
                    <a:gd name="T2" fmla="*/ 567 w 596"/>
                    <a:gd name="T3" fmla="*/ 0 h 232"/>
                    <a:gd name="T4" fmla="*/ 567 w 596"/>
                    <a:gd name="T5" fmla="*/ 125 h 232"/>
                    <a:gd name="T6" fmla="*/ 122 w 596"/>
                    <a:gd name="T7" fmla="*/ 184 h 232"/>
                    <a:gd name="T8" fmla="*/ 13 w 596"/>
                    <a:gd name="T9" fmla="*/ 107 h 232"/>
                    <a:gd name="T10" fmla="*/ 25 w 596"/>
                    <a:gd name="T11" fmla="*/ 1 h 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96" h="232">
                      <a:moveTo>
                        <a:pt x="25" y="1"/>
                      </a:moveTo>
                      <a:cubicBezTo>
                        <a:pt x="151" y="92"/>
                        <a:pt x="442" y="94"/>
                        <a:pt x="567" y="0"/>
                      </a:cubicBezTo>
                      <a:cubicBezTo>
                        <a:pt x="596" y="28"/>
                        <a:pt x="589" y="99"/>
                        <a:pt x="567" y="125"/>
                      </a:cubicBezTo>
                      <a:cubicBezTo>
                        <a:pt x="494" y="215"/>
                        <a:pt x="256" y="232"/>
                        <a:pt x="122" y="184"/>
                      </a:cubicBezTo>
                      <a:cubicBezTo>
                        <a:pt x="78" y="169"/>
                        <a:pt x="30" y="142"/>
                        <a:pt x="13" y="107"/>
                      </a:cubicBezTo>
                      <a:cubicBezTo>
                        <a:pt x="0" y="80"/>
                        <a:pt x="9" y="12"/>
                        <a:pt x="25" y="1"/>
                      </a:cubicBezTo>
                      <a:close/>
                    </a:path>
                  </a:pathLst>
                </a:custGeom>
                <a:solidFill>
                  <a:srgbClr val="0046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spcAft>
                      <a:spcPts val="600"/>
                    </a:spcAft>
                  </a:pPr>
                  <a:endParaRPr lang="en-US" sz="1049" dirty="0">
                    <a:solidFill>
                      <a:srgbClr val="004669"/>
                    </a:solidFill>
                  </a:endParaRPr>
                </a:p>
              </p:txBody>
            </p:sp>
            <p:sp>
              <p:nvSpPr>
                <p:cNvPr id="42" name="Freeform 46">
                  <a:extLst>
                    <a:ext uri="{FF2B5EF4-FFF2-40B4-BE49-F238E27FC236}">
                      <a16:creationId xmlns:a16="http://schemas.microsoft.com/office/drawing/2014/main" id="{6D96F942-6166-F441-7F28-06CBB013B4F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230152" y="3745084"/>
                  <a:ext cx="159375" cy="83721"/>
                </a:xfrm>
                <a:custGeom>
                  <a:avLst/>
                  <a:gdLst>
                    <a:gd name="T0" fmla="*/ 271 w 587"/>
                    <a:gd name="T1" fmla="*/ 5 h 291"/>
                    <a:gd name="T2" fmla="*/ 544 w 587"/>
                    <a:gd name="T3" fmla="*/ 68 h 291"/>
                    <a:gd name="T4" fmla="*/ 587 w 587"/>
                    <a:gd name="T5" fmla="*/ 137 h 291"/>
                    <a:gd name="T6" fmla="*/ 477 w 587"/>
                    <a:gd name="T7" fmla="*/ 242 h 291"/>
                    <a:gd name="T8" fmla="*/ 40 w 587"/>
                    <a:gd name="T9" fmla="*/ 203 h 291"/>
                    <a:gd name="T10" fmla="*/ 1 w 587"/>
                    <a:gd name="T11" fmla="*/ 136 h 291"/>
                    <a:gd name="T12" fmla="*/ 101 w 587"/>
                    <a:gd name="T13" fmla="*/ 37 h 291"/>
                    <a:gd name="T14" fmla="*/ 271 w 587"/>
                    <a:gd name="T15" fmla="*/ 5 h 2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7" h="291">
                      <a:moveTo>
                        <a:pt x="271" y="5"/>
                      </a:moveTo>
                      <a:cubicBezTo>
                        <a:pt x="376" y="0"/>
                        <a:pt x="481" y="20"/>
                        <a:pt x="544" y="68"/>
                      </a:cubicBezTo>
                      <a:cubicBezTo>
                        <a:pt x="565" y="83"/>
                        <a:pt x="587" y="108"/>
                        <a:pt x="587" y="137"/>
                      </a:cubicBezTo>
                      <a:cubicBezTo>
                        <a:pt x="587" y="192"/>
                        <a:pt x="522" y="226"/>
                        <a:pt x="477" y="242"/>
                      </a:cubicBezTo>
                      <a:cubicBezTo>
                        <a:pt x="342" y="291"/>
                        <a:pt x="137" y="281"/>
                        <a:pt x="40" y="203"/>
                      </a:cubicBezTo>
                      <a:cubicBezTo>
                        <a:pt x="21" y="188"/>
                        <a:pt x="0" y="166"/>
                        <a:pt x="1" y="136"/>
                      </a:cubicBezTo>
                      <a:cubicBezTo>
                        <a:pt x="2" y="83"/>
                        <a:pt x="60" y="53"/>
                        <a:pt x="101" y="37"/>
                      </a:cubicBezTo>
                      <a:cubicBezTo>
                        <a:pt x="151" y="17"/>
                        <a:pt x="204" y="8"/>
                        <a:pt x="271" y="5"/>
                      </a:cubicBezTo>
                      <a:close/>
                    </a:path>
                  </a:pathLst>
                </a:custGeom>
                <a:solidFill>
                  <a:srgbClr val="0046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spcAft>
                      <a:spcPts val="600"/>
                    </a:spcAft>
                  </a:pPr>
                  <a:endParaRPr lang="en-US" sz="1049" dirty="0">
                    <a:solidFill>
                      <a:srgbClr val="004669"/>
                    </a:solidFill>
                  </a:endParaRPr>
                </a:p>
              </p:txBody>
            </p:sp>
            <p:sp>
              <p:nvSpPr>
                <p:cNvPr id="43" name="Freeform 47">
                  <a:extLst>
                    <a:ext uri="{FF2B5EF4-FFF2-40B4-BE49-F238E27FC236}">
                      <a16:creationId xmlns:a16="http://schemas.microsoft.com/office/drawing/2014/main" id="{042CFD5B-FB08-8D43-B1C1-70036CE5E2D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230152" y="3815409"/>
                  <a:ext cx="160969" cy="65303"/>
                </a:xfrm>
                <a:custGeom>
                  <a:avLst/>
                  <a:gdLst>
                    <a:gd name="T0" fmla="*/ 25 w 595"/>
                    <a:gd name="T1" fmla="*/ 1 h 233"/>
                    <a:gd name="T2" fmla="*/ 567 w 595"/>
                    <a:gd name="T3" fmla="*/ 0 h 233"/>
                    <a:gd name="T4" fmla="*/ 567 w 595"/>
                    <a:gd name="T5" fmla="*/ 126 h 233"/>
                    <a:gd name="T6" fmla="*/ 122 w 595"/>
                    <a:gd name="T7" fmla="*/ 185 h 233"/>
                    <a:gd name="T8" fmla="*/ 13 w 595"/>
                    <a:gd name="T9" fmla="*/ 107 h 233"/>
                    <a:gd name="T10" fmla="*/ 25 w 595"/>
                    <a:gd name="T11" fmla="*/ 1 h 2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95" h="233">
                      <a:moveTo>
                        <a:pt x="25" y="1"/>
                      </a:moveTo>
                      <a:cubicBezTo>
                        <a:pt x="151" y="93"/>
                        <a:pt x="442" y="95"/>
                        <a:pt x="567" y="0"/>
                      </a:cubicBezTo>
                      <a:cubicBezTo>
                        <a:pt x="595" y="28"/>
                        <a:pt x="588" y="100"/>
                        <a:pt x="567" y="126"/>
                      </a:cubicBezTo>
                      <a:cubicBezTo>
                        <a:pt x="494" y="216"/>
                        <a:pt x="256" y="233"/>
                        <a:pt x="122" y="185"/>
                      </a:cubicBezTo>
                      <a:cubicBezTo>
                        <a:pt x="78" y="169"/>
                        <a:pt x="29" y="143"/>
                        <a:pt x="13" y="107"/>
                      </a:cubicBezTo>
                      <a:cubicBezTo>
                        <a:pt x="0" y="80"/>
                        <a:pt x="8" y="12"/>
                        <a:pt x="25" y="1"/>
                      </a:cubicBezTo>
                      <a:close/>
                    </a:path>
                  </a:pathLst>
                </a:custGeom>
                <a:solidFill>
                  <a:srgbClr val="0046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spcAft>
                      <a:spcPts val="600"/>
                    </a:spcAft>
                  </a:pPr>
                  <a:endParaRPr lang="en-US" sz="1049" dirty="0">
                    <a:solidFill>
                      <a:srgbClr val="004669"/>
                    </a:solidFill>
                  </a:endParaRPr>
                </a:p>
              </p:txBody>
            </p:sp>
            <p:sp>
              <p:nvSpPr>
                <p:cNvPr id="44" name="Freeform 48">
                  <a:extLst>
                    <a:ext uri="{FF2B5EF4-FFF2-40B4-BE49-F238E27FC236}">
                      <a16:creationId xmlns:a16="http://schemas.microsoft.com/office/drawing/2014/main" id="{279F6BAA-BFDE-B1D6-2279-C14CAFBCE94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230152" y="3867316"/>
                  <a:ext cx="160969" cy="65303"/>
                </a:xfrm>
                <a:custGeom>
                  <a:avLst/>
                  <a:gdLst>
                    <a:gd name="T0" fmla="*/ 25 w 595"/>
                    <a:gd name="T1" fmla="*/ 1 h 232"/>
                    <a:gd name="T2" fmla="*/ 567 w 595"/>
                    <a:gd name="T3" fmla="*/ 0 h 232"/>
                    <a:gd name="T4" fmla="*/ 567 w 595"/>
                    <a:gd name="T5" fmla="*/ 125 h 232"/>
                    <a:gd name="T6" fmla="*/ 122 w 595"/>
                    <a:gd name="T7" fmla="*/ 184 h 232"/>
                    <a:gd name="T8" fmla="*/ 13 w 595"/>
                    <a:gd name="T9" fmla="*/ 107 h 232"/>
                    <a:gd name="T10" fmla="*/ 25 w 595"/>
                    <a:gd name="T11" fmla="*/ 1 h 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95" h="232">
                      <a:moveTo>
                        <a:pt x="25" y="1"/>
                      </a:moveTo>
                      <a:cubicBezTo>
                        <a:pt x="151" y="92"/>
                        <a:pt x="442" y="94"/>
                        <a:pt x="567" y="0"/>
                      </a:cubicBezTo>
                      <a:cubicBezTo>
                        <a:pt x="595" y="28"/>
                        <a:pt x="588" y="99"/>
                        <a:pt x="567" y="125"/>
                      </a:cubicBezTo>
                      <a:cubicBezTo>
                        <a:pt x="494" y="215"/>
                        <a:pt x="256" y="232"/>
                        <a:pt x="122" y="184"/>
                      </a:cubicBezTo>
                      <a:cubicBezTo>
                        <a:pt x="78" y="169"/>
                        <a:pt x="29" y="142"/>
                        <a:pt x="13" y="107"/>
                      </a:cubicBezTo>
                      <a:cubicBezTo>
                        <a:pt x="0" y="80"/>
                        <a:pt x="8" y="12"/>
                        <a:pt x="25" y="1"/>
                      </a:cubicBezTo>
                      <a:close/>
                    </a:path>
                  </a:pathLst>
                </a:custGeom>
                <a:solidFill>
                  <a:srgbClr val="0046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spcAft>
                      <a:spcPts val="600"/>
                    </a:spcAft>
                  </a:pPr>
                  <a:endParaRPr lang="en-US" sz="1049" dirty="0">
                    <a:solidFill>
                      <a:srgbClr val="004669"/>
                    </a:solidFill>
                  </a:endParaRPr>
                </a:p>
              </p:txBody>
            </p:sp>
            <p:sp>
              <p:nvSpPr>
                <p:cNvPr id="45" name="Freeform 49">
                  <a:extLst>
                    <a:ext uri="{FF2B5EF4-FFF2-40B4-BE49-F238E27FC236}">
                      <a16:creationId xmlns:a16="http://schemas.microsoft.com/office/drawing/2014/main" id="{FABAEA24-F388-EE4B-5D47-09DC8481BE4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247683" y="3972806"/>
                  <a:ext cx="95625" cy="100464"/>
                </a:xfrm>
                <a:custGeom>
                  <a:avLst/>
                  <a:gdLst>
                    <a:gd name="T0" fmla="*/ 91 w 351"/>
                    <a:gd name="T1" fmla="*/ 67 h 353"/>
                    <a:gd name="T2" fmla="*/ 93 w 351"/>
                    <a:gd name="T3" fmla="*/ 198 h 353"/>
                    <a:gd name="T4" fmla="*/ 275 w 351"/>
                    <a:gd name="T5" fmla="*/ 16 h 353"/>
                    <a:gd name="T6" fmla="*/ 334 w 351"/>
                    <a:gd name="T7" fmla="*/ 16 h 353"/>
                    <a:gd name="T8" fmla="*/ 334 w 351"/>
                    <a:gd name="T9" fmla="*/ 17 h 353"/>
                    <a:gd name="T10" fmla="*/ 334 w 351"/>
                    <a:gd name="T11" fmla="*/ 76 h 353"/>
                    <a:gd name="T12" fmla="*/ 151 w 351"/>
                    <a:gd name="T13" fmla="*/ 260 h 353"/>
                    <a:gd name="T14" fmla="*/ 287 w 351"/>
                    <a:gd name="T15" fmla="*/ 263 h 353"/>
                    <a:gd name="T16" fmla="*/ 196 w 351"/>
                    <a:gd name="T17" fmla="*/ 353 h 353"/>
                    <a:gd name="T18" fmla="*/ 4 w 351"/>
                    <a:gd name="T19" fmla="*/ 349 h 353"/>
                    <a:gd name="T20" fmla="*/ 0 w 351"/>
                    <a:gd name="T21" fmla="*/ 157 h 353"/>
                    <a:gd name="T22" fmla="*/ 91 w 351"/>
                    <a:gd name="T23" fmla="*/ 67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51" h="353">
                      <a:moveTo>
                        <a:pt x="91" y="67"/>
                      </a:moveTo>
                      <a:lnTo>
                        <a:pt x="93" y="198"/>
                      </a:lnTo>
                      <a:lnTo>
                        <a:pt x="275" y="16"/>
                      </a:lnTo>
                      <a:cubicBezTo>
                        <a:pt x="291" y="0"/>
                        <a:pt x="318" y="0"/>
                        <a:pt x="334" y="16"/>
                      </a:cubicBezTo>
                      <a:lnTo>
                        <a:pt x="334" y="17"/>
                      </a:lnTo>
                      <a:cubicBezTo>
                        <a:pt x="351" y="33"/>
                        <a:pt x="351" y="60"/>
                        <a:pt x="334" y="76"/>
                      </a:cubicBezTo>
                      <a:lnTo>
                        <a:pt x="151" y="260"/>
                      </a:lnTo>
                      <a:lnTo>
                        <a:pt x="287" y="263"/>
                      </a:lnTo>
                      <a:lnTo>
                        <a:pt x="196" y="353"/>
                      </a:lnTo>
                      <a:lnTo>
                        <a:pt x="4" y="349"/>
                      </a:lnTo>
                      <a:lnTo>
                        <a:pt x="0" y="157"/>
                      </a:lnTo>
                      <a:lnTo>
                        <a:pt x="91" y="67"/>
                      </a:lnTo>
                      <a:close/>
                    </a:path>
                  </a:pathLst>
                </a:custGeom>
                <a:solidFill>
                  <a:srgbClr val="0046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spcAft>
                      <a:spcPts val="600"/>
                    </a:spcAft>
                  </a:pPr>
                  <a:endParaRPr lang="en-US" sz="1049" dirty="0">
                    <a:solidFill>
                      <a:srgbClr val="004669"/>
                    </a:solidFill>
                  </a:endParaRPr>
                </a:p>
              </p:txBody>
            </p:sp>
            <p:sp>
              <p:nvSpPr>
                <p:cNvPr id="46" name="Freeform 50">
                  <a:extLst>
                    <a:ext uri="{FF2B5EF4-FFF2-40B4-BE49-F238E27FC236}">
                      <a16:creationId xmlns:a16="http://schemas.microsoft.com/office/drawing/2014/main" id="{5682DDA2-DFA7-9CBA-FC54-144F0170716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911402" y="3972806"/>
                  <a:ext cx="95625" cy="100464"/>
                </a:xfrm>
                <a:custGeom>
                  <a:avLst/>
                  <a:gdLst>
                    <a:gd name="T0" fmla="*/ 260 w 350"/>
                    <a:gd name="T1" fmla="*/ 67 h 353"/>
                    <a:gd name="T2" fmla="*/ 257 w 350"/>
                    <a:gd name="T3" fmla="*/ 198 h 353"/>
                    <a:gd name="T4" fmla="*/ 76 w 350"/>
                    <a:gd name="T5" fmla="*/ 16 h 353"/>
                    <a:gd name="T6" fmla="*/ 17 w 350"/>
                    <a:gd name="T7" fmla="*/ 16 h 353"/>
                    <a:gd name="T8" fmla="*/ 16 w 350"/>
                    <a:gd name="T9" fmla="*/ 17 h 353"/>
                    <a:gd name="T10" fmla="*/ 16 w 350"/>
                    <a:gd name="T11" fmla="*/ 76 h 353"/>
                    <a:gd name="T12" fmla="*/ 200 w 350"/>
                    <a:gd name="T13" fmla="*/ 260 h 353"/>
                    <a:gd name="T14" fmla="*/ 64 w 350"/>
                    <a:gd name="T15" fmla="*/ 263 h 353"/>
                    <a:gd name="T16" fmla="*/ 155 w 350"/>
                    <a:gd name="T17" fmla="*/ 353 h 353"/>
                    <a:gd name="T18" fmla="*/ 347 w 350"/>
                    <a:gd name="T19" fmla="*/ 349 h 353"/>
                    <a:gd name="T20" fmla="*/ 350 w 350"/>
                    <a:gd name="T21" fmla="*/ 157 h 353"/>
                    <a:gd name="T22" fmla="*/ 260 w 350"/>
                    <a:gd name="T23" fmla="*/ 67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50" h="353">
                      <a:moveTo>
                        <a:pt x="260" y="67"/>
                      </a:moveTo>
                      <a:lnTo>
                        <a:pt x="257" y="198"/>
                      </a:lnTo>
                      <a:lnTo>
                        <a:pt x="76" y="16"/>
                      </a:lnTo>
                      <a:cubicBezTo>
                        <a:pt x="60" y="0"/>
                        <a:pt x="33" y="0"/>
                        <a:pt x="17" y="16"/>
                      </a:cubicBezTo>
                      <a:lnTo>
                        <a:pt x="16" y="17"/>
                      </a:lnTo>
                      <a:cubicBezTo>
                        <a:pt x="0" y="33"/>
                        <a:pt x="0" y="60"/>
                        <a:pt x="16" y="76"/>
                      </a:cubicBezTo>
                      <a:lnTo>
                        <a:pt x="200" y="260"/>
                      </a:lnTo>
                      <a:lnTo>
                        <a:pt x="64" y="263"/>
                      </a:lnTo>
                      <a:lnTo>
                        <a:pt x="155" y="353"/>
                      </a:lnTo>
                      <a:lnTo>
                        <a:pt x="347" y="349"/>
                      </a:lnTo>
                      <a:lnTo>
                        <a:pt x="350" y="157"/>
                      </a:lnTo>
                      <a:lnTo>
                        <a:pt x="260" y="67"/>
                      </a:lnTo>
                      <a:close/>
                    </a:path>
                  </a:pathLst>
                </a:custGeom>
                <a:solidFill>
                  <a:srgbClr val="0046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spcAft>
                      <a:spcPts val="600"/>
                    </a:spcAft>
                  </a:pPr>
                  <a:endParaRPr lang="en-US" sz="1049" dirty="0">
                    <a:solidFill>
                      <a:srgbClr val="004669"/>
                    </a:solidFill>
                  </a:endParaRPr>
                </a:p>
              </p:txBody>
            </p:sp>
          </p:grpSp>
        </p:grpSp>
        <p:grpSp>
          <p:nvGrpSpPr>
            <p:cNvPr id="26" name="Gruppieren 3">
              <a:extLst>
                <a:ext uri="{FF2B5EF4-FFF2-40B4-BE49-F238E27FC236}">
                  <a16:creationId xmlns:a16="http://schemas.microsoft.com/office/drawing/2014/main" id="{F56D63A0-100E-84C2-B05E-172FAC66DCCE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3819803" y="4175016"/>
              <a:ext cx="215933" cy="287850"/>
              <a:chOff x="225162" y="2761575"/>
              <a:chExt cx="270054" cy="360000"/>
            </a:xfrm>
            <a:solidFill>
              <a:srgbClr val="009999"/>
            </a:solidFill>
          </p:grpSpPr>
          <p:sp>
            <p:nvSpPr>
              <p:cNvPr id="30" name="Eingekerbter Richtungspfeil 2">
                <a:extLst>
                  <a:ext uri="{FF2B5EF4-FFF2-40B4-BE49-F238E27FC236}">
                    <a16:creationId xmlns:a16="http://schemas.microsoft.com/office/drawing/2014/main" id="{D0ABF74D-8152-077F-0109-98278D4E3F8B}"/>
                  </a:ext>
                </a:extLst>
              </p:cNvPr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225162" y="2833583"/>
                <a:ext cx="108000" cy="216000"/>
              </a:xfrm>
              <a:prstGeom prst="chevron">
                <a:avLst>
                  <a:gd name="adj" fmla="val 41955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44" tIns="71963" rIns="107944" bIns="71963" rtlCol="0" anchor="ctr"/>
              <a:lstStyle/>
              <a:p>
                <a:pPr algn="ctr">
                  <a:lnSpc>
                    <a:spcPct val="110000"/>
                  </a:lnSpc>
                  <a:spcAft>
                    <a:spcPts val="600"/>
                  </a:spcAft>
                </a:pPr>
                <a:endParaRPr lang="en-US" sz="15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Eingekerbter Richtungspfeil 132">
                <a:extLst>
                  <a:ext uri="{FF2B5EF4-FFF2-40B4-BE49-F238E27FC236}">
                    <a16:creationId xmlns:a16="http://schemas.microsoft.com/office/drawing/2014/main" id="{E82D684B-6622-5EB2-4864-698D363FB615}"/>
                  </a:ext>
                </a:extLst>
              </p:cNvPr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315215" y="2761575"/>
                <a:ext cx="180001" cy="360000"/>
              </a:xfrm>
              <a:prstGeom prst="chevron">
                <a:avLst>
                  <a:gd name="adj" fmla="val 41955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44" tIns="71963" rIns="107944" bIns="71963" rtlCol="0" anchor="ctr"/>
              <a:lstStyle/>
              <a:p>
                <a:pPr algn="ctr">
                  <a:lnSpc>
                    <a:spcPct val="110000"/>
                  </a:lnSpc>
                  <a:spcAft>
                    <a:spcPts val="600"/>
                  </a:spcAft>
                </a:pPr>
                <a:endParaRPr lang="en-US" sz="1599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7" name="Gruppieren 3">
              <a:extLst>
                <a:ext uri="{FF2B5EF4-FFF2-40B4-BE49-F238E27FC236}">
                  <a16:creationId xmlns:a16="http://schemas.microsoft.com/office/drawing/2014/main" id="{14709721-951C-0AD6-DA97-A61B367E1109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6498054" y="4175016"/>
              <a:ext cx="215933" cy="287850"/>
              <a:chOff x="225162" y="2761576"/>
              <a:chExt cx="270054" cy="360000"/>
            </a:xfrm>
            <a:solidFill>
              <a:srgbClr val="009999"/>
            </a:solidFill>
          </p:grpSpPr>
          <p:sp>
            <p:nvSpPr>
              <p:cNvPr id="28" name="Eingekerbter Richtungspfeil 2">
                <a:extLst>
                  <a:ext uri="{FF2B5EF4-FFF2-40B4-BE49-F238E27FC236}">
                    <a16:creationId xmlns:a16="http://schemas.microsoft.com/office/drawing/2014/main" id="{43F48BDB-84B9-183F-6499-04372BA572C0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225162" y="2833584"/>
                <a:ext cx="108000" cy="216000"/>
              </a:xfrm>
              <a:prstGeom prst="chevron">
                <a:avLst>
                  <a:gd name="adj" fmla="val 41955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44" tIns="71963" rIns="107944" bIns="71963" rtlCol="0" anchor="ctr"/>
              <a:lstStyle/>
              <a:p>
                <a:pPr algn="ctr">
                  <a:lnSpc>
                    <a:spcPct val="110000"/>
                  </a:lnSpc>
                  <a:spcAft>
                    <a:spcPts val="600"/>
                  </a:spcAft>
                </a:pPr>
                <a:endParaRPr lang="en-US" sz="15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Eingekerbter Richtungspfeil 132">
                <a:extLst>
                  <a:ext uri="{FF2B5EF4-FFF2-40B4-BE49-F238E27FC236}">
                    <a16:creationId xmlns:a16="http://schemas.microsoft.com/office/drawing/2014/main" id="{FF68045E-F39A-98AE-782B-10D0F245EF05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315215" y="2761576"/>
                <a:ext cx="180001" cy="360000"/>
              </a:xfrm>
              <a:prstGeom prst="chevron">
                <a:avLst>
                  <a:gd name="adj" fmla="val 41955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44" tIns="71963" rIns="107944" bIns="71963" rtlCol="0" anchor="ctr"/>
              <a:lstStyle/>
              <a:p>
                <a:pPr algn="ctr">
                  <a:lnSpc>
                    <a:spcPct val="110000"/>
                  </a:lnSpc>
                  <a:spcAft>
                    <a:spcPts val="600"/>
                  </a:spcAft>
                </a:pPr>
                <a:endParaRPr lang="en-US" sz="1599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92" name="Gruppieren 3">
              <a:extLst>
                <a:ext uri="{FF2B5EF4-FFF2-40B4-BE49-F238E27FC236}">
                  <a16:creationId xmlns:a16="http://schemas.microsoft.com/office/drawing/2014/main" id="{598B42F7-D15C-7A44-DC3C-AA9496B80F12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9104974" y="4171863"/>
              <a:ext cx="215933" cy="287850"/>
              <a:chOff x="225162" y="2761576"/>
              <a:chExt cx="270054" cy="360000"/>
            </a:xfrm>
            <a:solidFill>
              <a:srgbClr val="009999"/>
            </a:solidFill>
          </p:grpSpPr>
          <p:sp>
            <p:nvSpPr>
              <p:cNvPr id="93" name="Eingekerbter Richtungspfeil 2">
                <a:extLst>
                  <a:ext uri="{FF2B5EF4-FFF2-40B4-BE49-F238E27FC236}">
                    <a16:creationId xmlns:a16="http://schemas.microsoft.com/office/drawing/2014/main" id="{C3EFBDE4-AC92-01D6-EEDC-14AD0285A15E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225162" y="2833584"/>
                <a:ext cx="108000" cy="216000"/>
              </a:xfrm>
              <a:prstGeom prst="chevron">
                <a:avLst>
                  <a:gd name="adj" fmla="val 41955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44" tIns="71963" rIns="107944" bIns="71963" rtlCol="0" anchor="ctr"/>
              <a:lstStyle/>
              <a:p>
                <a:pPr algn="ctr">
                  <a:lnSpc>
                    <a:spcPct val="110000"/>
                  </a:lnSpc>
                  <a:spcAft>
                    <a:spcPts val="600"/>
                  </a:spcAft>
                </a:pPr>
                <a:endParaRPr lang="en-US" sz="15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4" name="Eingekerbter Richtungspfeil 132">
                <a:extLst>
                  <a:ext uri="{FF2B5EF4-FFF2-40B4-BE49-F238E27FC236}">
                    <a16:creationId xmlns:a16="http://schemas.microsoft.com/office/drawing/2014/main" id="{8E9F9D29-3CD1-C081-BE1B-ABBA88750081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315215" y="2761576"/>
                <a:ext cx="180001" cy="360000"/>
              </a:xfrm>
              <a:prstGeom prst="chevron">
                <a:avLst>
                  <a:gd name="adj" fmla="val 41955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944" tIns="71963" rIns="107944" bIns="71963" rtlCol="0" anchor="ctr"/>
              <a:lstStyle/>
              <a:p>
                <a:pPr algn="ctr">
                  <a:lnSpc>
                    <a:spcPct val="110000"/>
                  </a:lnSpc>
                  <a:spcAft>
                    <a:spcPts val="600"/>
                  </a:spcAft>
                </a:pPr>
                <a:endParaRPr lang="en-US" sz="1599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5" name="TextBox 58">
              <a:extLst>
                <a:ext uri="{FF2B5EF4-FFF2-40B4-BE49-F238E27FC236}">
                  <a16:creationId xmlns:a16="http://schemas.microsoft.com/office/drawing/2014/main" id="{8BDD1DDD-572E-47B5-21E4-419DE61D075A}"/>
                </a:ext>
              </a:extLst>
            </p:cNvPr>
            <p:cNvSpPr txBox="1">
              <a:spLocks/>
            </p:cNvSpPr>
            <p:nvPr/>
          </p:nvSpPr>
          <p:spPr>
            <a:xfrm>
              <a:off x="9833053" y="3882189"/>
              <a:ext cx="888064" cy="24974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599" i="1" dirty="0">
                  <a:solidFill>
                    <a:srgbClr val="004669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eporting</a:t>
              </a:r>
            </a:p>
          </p:txBody>
        </p:sp>
        <p:pic>
          <p:nvPicPr>
            <p:cNvPr id="98" name="Grafik 97" descr="Dokument mit einfarbiger Füllung">
              <a:extLst>
                <a:ext uri="{FF2B5EF4-FFF2-40B4-BE49-F238E27FC236}">
                  <a16:creationId xmlns:a16="http://schemas.microsoft.com/office/drawing/2014/main" id="{D774A3DD-968D-F0AD-3F04-7301207FECD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10083837" y="4205623"/>
              <a:ext cx="490283" cy="4902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210414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esterday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70D270D6-DC4B-AE64-0F4B-81C148DA662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27063" y="3894138"/>
            <a:ext cx="1771319" cy="21544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t">
            <a:sp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vailable “Toolbox”</a:t>
            </a:r>
            <a:endParaRPr lang="en-US" sz="10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6798EDFB-2A49-B0AB-B508-47D47914901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29551" y="3073484"/>
            <a:ext cx="11086248" cy="43088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/>
          <a:p>
            <a:pPr marL="0" lvl="2" indent="0" algn="ctr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28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Yesterday: </a:t>
            </a:r>
            <a:r>
              <a:rPr lang="en-US" sz="2800" b="1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Manual orchestration of case specific tools.</a:t>
            </a:r>
            <a:endParaRPr lang="en-US" sz="2800" dirty="0">
              <a:solidFill>
                <a:srgbClr val="0F8287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2C5A3897-423E-93AF-A436-C48D04DEE043}"/>
              </a:ext>
            </a:extLst>
          </p:cNvPr>
          <p:cNvGrpSpPr/>
          <p:nvPr/>
        </p:nvGrpSpPr>
        <p:grpSpPr>
          <a:xfrm>
            <a:off x="1021980" y="4435917"/>
            <a:ext cx="1564478" cy="1506564"/>
            <a:chOff x="1021980" y="4435917"/>
            <a:chExt cx="1564478" cy="1506564"/>
          </a:xfrm>
          <a:solidFill>
            <a:srgbClr val="333353"/>
          </a:solidFill>
        </p:grpSpPr>
        <p:sp>
          <p:nvSpPr>
            <p:cNvPr id="9" name="Rectangle 5">
              <a:extLst>
                <a:ext uri="{FF2B5EF4-FFF2-40B4-BE49-F238E27FC236}">
                  <a16:creationId xmlns:a16="http://schemas.microsoft.com/office/drawing/2014/main" id="{1D0660F5-955B-64BE-149F-D9BF681B54DC}"/>
                </a:ext>
              </a:extLst>
            </p:cNvPr>
            <p:cNvSpPr/>
            <p:nvPr/>
          </p:nvSpPr>
          <p:spPr bwMode="auto">
            <a:xfrm>
              <a:off x="1021980" y="4435917"/>
              <a:ext cx="620689" cy="620689"/>
            </a:xfrm>
            <a:prstGeom prst="rect">
              <a:avLst/>
            </a:prstGeom>
            <a:grpFill/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de-DE" sz="10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.1</a:t>
              </a:r>
            </a:p>
          </p:txBody>
        </p:sp>
        <p:sp>
          <p:nvSpPr>
            <p:cNvPr id="11" name="Oval 9">
              <a:extLst>
                <a:ext uri="{FF2B5EF4-FFF2-40B4-BE49-F238E27FC236}">
                  <a16:creationId xmlns:a16="http://schemas.microsoft.com/office/drawing/2014/main" id="{3590AC79-5B16-544C-AC5A-84E598093776}"/>
                </a:ext>
              </a:extLst>
            </p:cNvPr>
            <p:cNvSpPr/>
            <p:nvPr/>
          </p:nvSpPr>
          <p:spPr bwMode="auto">
            <a:xfrm>
              <a:off x="1336764" y="5321792"/>
              <a:ext cx="620689" cy="620689"/>
            </a:xfrm>
            <a:prstGeom prst="ellipse">
              <a:avLst/>
            </a:prstGeom>
            <a:grpFill/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de-DE" sz="10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.2</a:t>
              </a:r>
            </a:p>
          </p:txBody>
        </p:sp>
        <p:sp>
          <p:nvSpPr>
            <p:cNvPr id="54" name="Diamond 11">
              <a:extLst>
                <a:ext uri="{FF2B5EF4-FFF2-40B4-BE49-F238E27FC236}">
                  <a16:creationId xmlns:a16="http://schemas.microsoft.com/office/drawing/2014/main" id="{93A56398-A128-E8D6-2287-445A315D0CA6}"/>
                </a:ext>
              </a:extLst>
            </p:cNvPr>
            <p:cNvSpPr/>
            <p:nvPr/>
          </p:nvSpPr>
          <p:spPr bwMode="auto">
            <a:xfrm>
              <a:off x="1775130" y="4652001"/>
              <a:ext cx="811328" cy="811328"/>
            </a:xfrm>
            <a:prstGeom prst="diamond">
              <a:avLst/>
            </a:prstGeom>
            <a:grpFill/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de-DE" sz="10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.3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40C05DF1-D163-3A62-B334-7B7483472D6B}"/>
              </a:ext>
            </a:extLst>
          </p:cNvPr>
          <p:cNvGrpSpPr/>
          <p:nvPr/>
        </p:nvGrpSpPr>
        <p:grpSpPr>
          <a:xfrm>
            <a:off x="4073362" y="4379471"/>
            <a:ext cx="1081077" cy="1375536"/>
            <a:chOff x="4073362" y="4379471"/>
            <a:chExt cx="1081077" cy="1375536"/>
          </a:xfrm>
          <a:solidFill>
            <a:srgbClr val="333353"/>
          </a:solidFill>
        </p:grpSpPr>
        <p:sp>
          <p:nvSpPr>
            <p:cNvPr id="10" name="Triangle 8">
              <a:extLst>
                <a:ext uri="{FF2B5EF4-FFF2-40B4-BE49-F238E27FC236}">
                  <a16:creationId xmlns:a16="http://schemas.microsoft.com/office/drawing/2014/main" id="{7D057D6D-E8BD-02E7-7194-61DC37A59BFD}"/>
                </a:ext>
              </a:extLst>
            </p:cNvPr>
            <p:cNvSpPr/>
            <p:nvPr/>
          </p:nvSpPr>
          <p:spPr bwMode="auto">
            <a:xfrm>
              <a:off x="4073362" y="5055585"/>
              <a:ext cx="811329" cy="699422"/>
            </a:xfrm>
            <a:prstGeom prst="triangle">
              <a:avLst/>
            </a:prstGeom>
            <a:grpFill/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de-DE" sz="10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.1</a:t>
              </a:r>
            </a:p>
          </p:txBody>
        </p:sp>
        <p:sp>
          <p:nvSpPr>
            <p:cNvPr id="60" name="Hexagon 61">
              <a:extLst>
                <a:ext uri="{FF2B5EF4-FFF2-40B4-BE49-F238E27FC236}">
                  <a16:creationId xmlns:a16="http://schemas.microsoft.com/office/drawing/2014/main" id="{8B409DA9-0B60-6D9F-2FB0-0FAD0F22DF2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34439" y="4379471"/>
              <a:ext cx="720000" cy="620689"/>
            </a:xfrm>
            <a:prstGeom prst="hexagon">
              <a:avLst/>
            </a:prstGeom>
            <a:grpFill/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00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.2</a:t>
              </a:r>
              <a:endPara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122" name="Gruppieren 121">
            <a:extLst>
              <a:ext uri="{FF2B5EF4-FFF2-40B4-BE49-F238E27FC236}">
                <a16:creationId xmlns:a16="http://schemas.microsoft.com/office/drawing/2014/main" id="{A4EA1B4B-E91D-3A9E-66BA-FA08841AF66C}"/>
              </a:ext>
            </a:extLst>
          </p:cNvPr>
          <p:cNvGrpSpPr/>
          <p:nvPr/>
        </p:nvGrpSpPr>
        <p:grpSpPr>
          <a:xfrm>
            <a:off x="6728178" y="3846541"/>
            <a:ext cx="1792619" cy="2081475"/>
            <a:chOff x="6728178" y="3846541"/>
            <a:chExt cx="1792619" cy="2081475"/>
          </a:xfrm>
          <a:solidFill>
            <a:srgbClr val="333353"/>
          </a:solidFill>
        </p:grpSpPr>
        <p:sp>
          <p:nvSpPr>
            <p:cNvPr id="21" name="Regular Pentagon 10">
              <a:extLst>
                <a:ext uri="{FF2B5EF4-FFF2-40B4-BE49-F238E27FC236}">
                  <a16:creationId xmlns:a16="http://schemas.microsoft.com/office/drawing/2014/main" id="{71890229-FE16-1DEC-09F7-86A82D36750C}"/>
                </a:ext>
              </a:extLst>
            </p:cNvPr>
            <p:cNvSpPr/>
            <p:nvPr/>
          </p:nvSpPr>
          <p:spPr bwMode="auto">
            <a:xfrm>
              <a:off x="7256161" y="4623062"/>
              <a:ext cx="651724" cy="620690"/>
            </a:xfrm>
            <a:prstGeom prst="pentagon">
              <a:avLst/>
            </a:prstGeom>
            <a:grpFill/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de-DE" sz="10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3.3</a:t>
              </a:r>
            </a:p>
          </p:txBody>
        </p:sp>
        <p:sp>
          <p:nvSpPr>
            <p:cNvPr id="59" name="Oval 60">
              <a:extLst>
                <a:ext uri="{FF2B5EF4-FFF2-40B4-BE49-F238E27FC236}">
                  <a16:creationId xmlns:a16="http://schemas.microsoft.com/office/drawing/2014/main" id="{36FF0E1E-9460-AB65-F35E-8CCED6531E1E}"/>
                </a:ext>
              </a:extLst>
            </p:cNvPr>
            <p:cNvSpPr/>
            <p:nvPr/>
          </p:nvSpPr>
          <p:spPr bwMode="auto">
            <a:xfrm>
              <a:off x="6861252" y="5307327"/>
              <a:ext cx="620689" cy="620689"/>
            </a:xfrm>
            <a:prstGeom prst="ellipse">
              <a:avLst/>
            </a:prstGeom>
            <a:grpFill/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de-DE" sz="10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3.2</a:t>
              </a:r>
            </a:p>
          </p:txBody>
        </p:sp>
        <p:sp>
          <p:nvSpPr>
            <p:cNvPr id="61" name="Trapezium 13">
              <a:extLst>
                <a:ext uri="{FF2B5EF4-FFF2-40B4-BE49-F238E27FC236}">
                  <a16:creationId xmlns:a16="http://schemas.microsoft.com/office/drawing/2014/main" id="{6F7F736C-E2F4-92EE-91BC-88F128EF4BBC}"/>
                </a:ext>
              </a:extLst>
            </p:cNvPr>
            <p:cNvSpPr/>
            <p:nvPr/>
          </p:nvSpPr>
          <p:spPr bwMode="auto">
            <a:xfrm>
              <a:off x="6728178" y="4018844"/>
              <a:ext cx="737091" cy="535516"/>
            </a:xfrm>
            <a:prstGeom prst="trapezoid">
              <a:avLst/>
            </a:prstGeom>
            <a:grpFill/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de-DE" sz="10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3.1</a:t>
              </a:r>
            </a:p>
          </p:txBody>
        </p:sp>
        <p:sp>
          <p:nvSpPr>
            <p:cNvPr id="62" name="Triangle 62">
              <a:extLst>
                <a:ext uri="{FF2B5EF4-FFF2-40B4-BE49-F238E27FC236}">
                  <a16:creationId xmlns:a16="http://schemas.microsoft.com/office/drawing/2014/main" id="{ABF98E9C-A301-1ADB-786D-0F57E9E68E70}"/>
                </a:ext>
              </a:extLst>
            </p:cNvPr>
            <p:cNvSpPr/>
            <p:nvPr/>
          </p:nvSpPr>
          <p:spPr bwMode="auto">
            <a:xfrm>
              <a:off x="7658135" y="3846541"/>
              <a:ext cx="811329" cy="699422"/>
            </a:xfrm>
            <a:prstGeom prst="triangle">
              <a:avLst/>
            </a:prstGeom>
            <a:grpFill/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de-DE" sz="10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3.4</a:t>
              </a:r>
            </a:p>
          </p:txBody>
        </p:sp>
        <p:sp>
          <p:nvSpPr>
            <p:cNvPr id="63" name="Trapezium 64">
              <a:extLst>
                <a:ext uri="{FF2B5EF4-FFF2-40B4-BE49-F238E27FC236}">
                  <a16:creationId xmlns:a16="http://schemas.microsoft.com/office/drawing/2014/main" id="{C66F9632-B14C-F63D-E6EA-1127186CD313}"/>
                </a:ext>
              </a:extLst>
            </p:cNvPr>
            <p:cNvSpPr/>
            <p:nvPr/>
          </p:nvSpPr>
          <p:spPr bwMode="auto">
            <a:xfrm>
              <a:off x="7783706" y="5212602"/>
              <a:ext cx="737091" cy="535516"/>
            </a:xfrm>
            <a:prstGeom prst="trapezoid">
              <a:avLst/>
            </a:prstGeom>
            <a:grpFill/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de-DE" sz="10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3.5</a:t>
              </a:r>
            </a:p>
          </p:txBody>
        </p:sp>
      </p:grp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A647DF13-4F09-EC00-E958-D894B6579CB2}"/>
              </a:ext>
            </a:extLst>
          </p:cNvPr>
          <p:cNvGrpSpPr/>
          <p:nvPr/>
        </p:nvGrpSpPr>
        <p:grpSpPr>
          <a:xfrm>
            <a:off x="9942779" y="4261039"/>
            <a:ext cx="1088142" cy="1372847"/>
            <a:chOff x="9942779" y="4261039"/>
            <a:chExt cx="1088142" cy="1372847"/>
          </a:xfrm>
          <a:solidFill>
            <a:srgbClr val="333353"/>
          </a:solidFill>
        </p:grpSpPr>
        <p:sp>
          <p:nvSpPr>
            <p:cNvPr id="64" name="Rectangle 65">
              <a:extLst>
                <a:ext uri="{FF2B5EF4-FFF2-40B4-BE49-F238E27FC236}">
                  <a16:creationId xmlns:a16="http://schemas.microsoft.com/office/drawing/2014/main" id="{2098D017-35C9-9CD7-3B27-71BD7803055F}"/>
                </a:ext>
              </a:extLst>
            </p:cNvPr>
            <p:cNvSpPr/>
            <p:nvPr/>
          </p:nvSpPr>
          <p:spPr bwMode="auto">
            <a:xfrm>
              <a:off x="9942779" y="4261039"/>
              <a:ext cx="620689" cy="620689"/>
            </a:xfrm>
            <a:prstGeom prst="rect">
              <a:avLst/>
            </a:prstGeom>
            <a:grpFill/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de-DE" sz="10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4.1</a:t>
              </a:r>
            </a:p>
          </p:txBody>
        </p:sp>
        <p:sp>
          <p:nvSpPr>
            <p:cNvPr id="65" name="Hexagon 66">
              <a:extLst>
                <a:ext uri="{FF2B5EF4-FFF2-40B4-BE49-F238E27FC236}">
                  <a16:creationId xmlns:a16="http://schemas.microsoft.com/office/drawing/2014/main" id="{0DD8A818-2A39-A999-40B4-8B05BBFE92B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310921" y="5013197"/>
              <a:ext cx="720000" cy="620689"/>
            </a:xfrm>
            <a:prstGeom prst="hexagon">
              <a:avLst/>
            </a:prstGeom>
            <a:grpFill/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00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4.2</a:t>
              </a:r>
              <a:endPara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66" name="Gruppieren 3">
            <a:extLst>
              <a:ext uri="{FF2B5EF4-FFF2-40B4-BE49-F238E27FC236}">
                <a16:creationId xmlns:a16="http://schemas.microsoft.com/office/drawing/2014/main" id="{A459C9ED-F166-AFB5-BDF8-57B254229E6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gray">
          <a:xfrm>
            <a:off x="3065039" y="4903253"/>
            <a:ext cx="216045" cy="288000"/>
            <a:chOff x="225162" y="2761580"/>
            <a:chExt cx="270054" cy="360000"/>
          </a:xfrm>
          <a:solidFill>
            <a:srgbClr val="4BB9B9"/>
          </a:solidFill>
        </p:grpSpPr>
        <p:sp>
          <p:nvSpPr>
            <p:cNvPr id="67" name="Eingekerbter Richtungspfeil 2">
              <a:extLst>
                <a:ext uri="{FF2B5EF4-FFF2-40B4-BE49-F238E27FC236}">
                  <a16:creationId xmlns:a16="http://schemas.microsoft.com/office/drawing/2014/main" id="{BFCF035A-AE6B-537F-B8A5-CD823066D365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225162" y="2833588"/>
              <a:ext cx="108000" cy="216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68" name="Eingekerbter Richtungspfeil 132">
              <a:extLst>
                <a:ext uri="{FF2B5EF4-FFF2-40B4-BE49-F238E27FC236}">
                  <a16:creationId xmlns:a16="http://schemas.microsoft.com/office/drawing/2014/main" id="{30A4A141-0339-AB88-AF98-80B6FA2772AD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315216" y="2761580"/>
              <a:ext cx="180000" cy="360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7" name="Gruppieren 3">
            <a:extLst>
              <a:ext uri="{FF2B5EF4-FFF2-40B4-BE49-F238E27FC236}">
                <a16:creationId xmlns:a16="http://schemas.microsoft.com/office/drawing/2014/main" id="{318EDDCE-4081-8003-E233-B61073A71230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gray">
          <a:xfrm>
            <a:off x="6021276" y="4901316"/>
            <a:ext cx="216045" cy="288000"/>
            <a:chOff x="225162" y="2761580"/>
            <a:chExt cx="270054" cy="360000"/>
          </a:xfrm>
          <a:solidFill>
            <a:srgbClr val="4BB9B9"/>
          </a:solidFill>
        </p:grpSpPr>
        <p:sp>
          <p:nvSpPr>
            <p:cNvPr id="99" name="Eingekerbter Richtungspfeil 2">
              <a:extLst>
                <a:ext uri="{FF2B5EF4-FFF2-40B4-BE49-F238E27FC236}">
                  <a16:creationId xmlns:a16="http://schemas.microsoft.com/office/drawing/2014/main" id="{17A878AA-67E5-450D-8C03-479F417D0D08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225162" y="2833588"/>
              <a:ext cx="108000" cy="216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00" name="Eingekerbter Richtungspfeil 132">
              <a:extLst>
                <a:ext uri="{FF2B5EF4-FFF2-40B4-BE49-F238E27FC236}">
                  <a16:creationId xmlns:a16="http://schemas.microsoft.com/office/drawing/2014/main" id="{B60A39D6-499C-D997-C742-C05C258A6E35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315216" y="2761580"/>
              <a:ext cx="180000" cy="360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01" name="Gruppieren 3">
            <a:extLst>
              <a:ext uri="{FF2B5EF4-FFF2-40B4-BE49-F238E27FC236}">
                <a16:creationId xmlns:a16="http://schemas.microsoft.com/office/drawing/2014/main" id="{AC04D3FE-1487-4010-A5DC-D1CD16AAE6CC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gray">
          <a:xfrm>
            <a:off x="9125520" y="4900733"/>
            <a:ext cx="216045" cy="288000"/>
            <a:chOff x="225162" y="2761580"/>
            <a:chExt cx="270054" cy="360000"/>
          </a:xfrm>
          <a:solidFill>
            <a:srgbClr val="4BB9B9"/>
          </a:solidFill>
        </p:grpSpPr>
        <p:sp>
          <p:nvSpPr>
            <p:cNvPr id="102" name="Eingekerbter Richtungspfeil 2">
              <a:extLst>
                <a:ext uri="{FF2B5EF4-FFF2-40B4-BE49-F238E27FC236}">
                  <a16:creationId xmlns:a16="http://schemas.microsoft.com/office/drawing/2014/main" id="{B975310C-CBC2-79BE-86CC-6962F2C79714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225162" y="2833588"/>
              <a:ext cx="108000" cy="216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03" name="Eingekerbter Richtungspfeil 132">
              <a:extLst>
                <a:ext uri="{FF2B5EF4-FFF2-40B4-BE49-F238E27FC236}">
                  <a16:creationId xmlns:a16="http://schemas.microsoft.com/office/drawing/2014/main" id="{C1004A97-8B8B-D4A8-B157-4ABAA0ACE91E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315216" y="2761580"/>
              <a:ext cx="180000" cy="360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105" name="Rectangle 2">
            <a:extLst>
              <a:ext uri="{FF2B5EF4-FFF2-40B4-BE49-F238E27FC236}">
                <a16:creationId xmlns:a16="http://schemas.microsoft.com/office/drawing/2014/main" id="{B4FCAB8A-D9C1-5E26-0B31-BD2F427CA821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26567" y="1648644"/>
            <a:ext cx="2160000" cy="102523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72000" tIns="180000" rIns="36000" bIns="180000" anchor="t">
            <a:sp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32A0A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ata Acquisition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dentify and acquire raw data as potential evidential data.</a:t>
            </a:r>
          </a:p>
        </p:txBody>
      </p:sp>
      <p:sp>
        <p:nvSpPr>
          <p:cNvPr id="107" name="Rectangle 2">
            <a:extLst>
              <a:ext uri="{FF2B5EF4-FFF2-40B4-BE49-F238E27FC236}">
                <a16:creationId xmlns:a16="http://schemas.microsoft.com/office/drawing/2014/main" id="{D0352BEC-1474-B3A9-6C05-24B3E578DADC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503338" y="1648644"/>
            <a:ext cx="2160000" cy="102523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72000" tIns="180000" rIns="36000" bIns="180000" anchor="t">
            <a:spAutoFit/>
          </a:bodyPr>
          <a:lstStyle/>
          <a:p>
            <a:pPr fontAlgn="t"/>
            <a:r>
              <a:rPr lang="en-US" sz="1400" dirty="0">
                <a:solidFill>
                  <a:srgbClr val="32A0A0"/>
                </a:solidFill>
              </a:rPr>
              <a:t>Data Preparation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dentify and process steps required for data preparation.</a:t>
            </a:r>
          </a:p>
        </p:txBody>
      </p:sp>
      <p:sp>
        <p:nvSpPr>
          <p:cNvPr id="108" name="Rectangle 2">
            <a:extLst>
              <a:ext uri="{FF2B5EF4-FFF2-40B4-BE49-F238E27FC236}">
                <a16:creationId xmlns:a16="http://schemas.microsoft.com/office/drawing/2014/main" id="{D27EC060-AA63-7DD6-80A6-A709C4446746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80109" y="1648644"/>
            <a:ext cx="2160000" cy="102523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72000" tIns="180000" rIns="36000" bIns="180000" anchor="t">
            <a:sp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32A0A0"/>
                </a:solidFill>
              </a:rPr>
              <a:t>Data Analysis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Understanding attack capabilities.</a:t>
            </a:r>
          </a:p>
        </p:txBody>
      </p:sp>
      <p:sp>
        <p:nvSpPr>
          <p:cNvPr id="109" name="Rectangle 2">
            <a:extLst>
              <a:ext uri="{FF2B5EF4-FFF2-40B4-BE49-F238E27FC236}">
                <a16:creationId xmlns:a16="http://schemas.microsoft.com/office/drawing/2014/main" id="{95F63357-2AF5-B52A-EE9E-E83D81C1B486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256879" y="1648644"/>
            <a:ext cx="2087956" cy="102523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72000" tIns="180000" rIns="36000" bIns="180000" anchor="t">
            <a:sp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32A0A0"/>
                </a:solidFill>
              </a:rPr>
              <a:t>Analysis Report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repare report &amp; recommend counter measures</a:t>
            </a:r>
          </a:p>
        </p:txBody>
      </p:sp>
      <p:grpSp>
        <p:nvGrpSpPr>
          <p:cNvPr id="110" name="Gruppieren 3">
            <a:extLst>
              <a:ext uri="{FF2B5EF4-FFF2-40B4-BE49-F238E27FC236}">
                <a16:creationId xmlns:a16="http://schemas.microsoft.com/office/drawing/2014/main" id="{5A175B09-D87D-953D-0576-16F7B4296C1E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gray">
          <a:xfrm>
            <a:off x="3036930" y="2017261"/>
            <a:ext cx="216045" cy="288000"/>
            <a:chOff x="225162" y="2761580"/>
            <a:chExt cx="270054" cy="360000"/>
          </a:xfrm>
          <a:solidFill>
            <a:srgbClr val="4BB9B9"/>
          </a:solidFill>
        </p:grpSpPr>
        <p:sp>
          <p:nvSpPr>
            <p:cNvPr id="111" name="Eingekerbter Richtungspfeil 2">
              <a:extLst>
                <a:ext uri="{FF2B5EF4-FFF2-40B4-BE49-F238E27FC236}">
                  <a16:creationId xmlns:a16="http://schemas.microsoft.com/office/drawing/2014/main" id="{6C0ACF75-9824-B2F7-E467-0D1C13614E2E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225162" y="2833588"/>
              <a:ext cx="108000" cy="216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12" name="Eingekerbter Richtungspfeil 132">
              <a:extLst>
                <a:ext uri="{FF2B5EF4-FFF2-40B4-BE49-F238E27FC236}">
                  <a16:creationId xmlns:a16="http://schemas.microsoft.com/office/drawing/2014/main" id="{C95489EE-A4DD-F75C-49CB-27AB4C66625C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315216" y="2761580"/>
              <a:ext cx="180000" cy="360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3" name="Gruppieren 3">
            <a:extLst>
              <a:ext uri="{FF2B5EF4-FFF2-40B4-BE49-F238E27FC236}">
                <a16:creationId xmlns:a16="http://schemas.microsoft.com/office/drawing/2014/main" id="{275E660F-8759-029C-7E25-DA505D6E914B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gray">
          <a:xfrm>
            <a:off x="5913701" y="2017261"/>
            <a:ext cx="216045" cy="288000"/>
            <a:chOff x="225162" y="2761580"/>
            <a:chExt cx="270054" cy="360000"/>
          </a:xfrm>
          <a:solidFill>
            <a:srgbClr val="4BB9B9"/>
          </a:solidFill>
        </p:grpSpPr>
        <p:sp>
          <p:nvSpPr>
            <p:cNvPr id="114" name="Eingekerbter Richtungspfeil 2">
              <a:extLst>
                <a:ext uri="{FF2B5EF4-FFF2-40B4-BE49-F238E27FC236}">
                  <a16:creationId xmlns:a16="http://schemas.microsoft.com/office/drawing/2014/main" id="{B3F4CD2D-D9DC-95EC-8EDB-82B9F035291A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225162" y="2833588"/>
              <a:ext cx="108000" cy="216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15" name="Eingekerbter Richtungspfeil 132">
              <a:extLst>
                <a:ext uri="{FF2B5EF4-FFF2-40B4-BE49-F238E27FC236}">
                  <a16:creationId xmlns:a16="http://schemas.microsoft.com/office/drawing/2014/main" id="{58E63327-1E45-0ED8-11EE-B4CA97A62132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315216" y="2761580"/>
              <a:ext cx="180000" cy="360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6" name="Gruppieren 3">
            <a:extLst>
              <a:ext uri="{FF2B5EF4-FFF2-40B4-BE49-F238E27FC236}">
                <a16:creationId xmlns:a16="http://schemas.microsoft.com/office/drawing/2014/main" id="{16D4C92E-C25A-1989-9687-C3CA4AC0F4EE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gray">
          <a:xfrm>
            <a:off x="8790472" y="2017261"/>
            <a:ext cx="216045" cy="288000"/>
            <a:chOff x="225162" y="2761580"/>
            <a:chExt cx="270054" cy="360000"/>
          </a:xfrm>
          <a:solidFill>
            <a:srgbClr val="4BB9B9"/>
          </a:solidFill>
        </p:grpSpPr>
        <p:sp>
          <p:nvSpPr>
            <p:cNvPr id="117" name="Eingekerbter Richtungspfeil 2">
              <a:extLst>
                <a:ext uri="{FF2B5EF4-FFF2-40B4-BE49-F238E27FC236}">
                  <a16:creationId xmlns:a16="http://schemas.microsoft.com/office/drawing/2014/main" id="{4F628F48-E2BD-2B19-EB5D-D7E32B1ABCEE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225162" y="2833588"/>
              <a:ext cx="108000" cy="216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18" name="Eingekerbter Richtungspfeil 132">
              <a:extLst>
                <a:ext uri="{FF2B5EF4-FFF2-40B4-BE49-F238E27FC236}">
                  <a16:creationId xmlns:a16="http://schemas.microsoft.com/office/drawing/2014/main" id="{D63CF465-E0F3-EC21-C8E6-7BE59BCCBC3E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315216" y="2761580"/>
              <a:ext cx="180000" cy="360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9" name="Rectangle 2">
            <a:extLst>
              <a:ext uri="{FF2B5EF4-FFF2-40B4-BE49-F238E27FC236}">
                <a16:creationId xmlns:a16="http://schemas.microsoft.com/office/drawing/2014/main" id="{72EA828D-802D-35B5-CB92-66F7365B634B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26567" y="1419484"/>
            <a:ext cx="3478516" cy="21544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t">
            <a:sp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ttack Analysis &amp; Forensics </a:t>
            </a:r>
            <a:r>
              <a:rPr lang="en-US" sz="10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(simplified steps)</a:t>
            </a:r>
          </a:p>
        </p:txBody>
      </p:sp>
    </p:spTree>
    <p:extLst>
      <p:ext uri="{BB962C8B-B14F-4D97-AF65-F5344CB8AC3E}">
        <p14:creationId xmlns:p14="http://schemas.microsoft.com/office/powerpoint/2010/main" val="14797832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11155"/>
    </mc:Choice>
    <mc:Fallback>
      <p:transition spd="slow" advTm="111155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esterday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70D270D6-DC4B-AE64-0F4B-81C148DA662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27063" y="3894138"/>
            <a:ext cx="1890261" cy="21544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t">
            <a:spAutoFit/>
          </a:bodyPr>
          <a:lstStyle/>
          <a:p>
            <a:pPr marL="0" lvl="2">
              <a:spcBef>
                <a:spcPts val="60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vailable “Toolbox”</a:t>
            </a:r>
            <a:endParaRPr lang="en-US" sz="10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40C05DF1-D163-3A62-B334-7B7483472D6B}"/>
              </a:ext>
            </a:extLst>
          </p:cNvPr>
          <p:cNvGrpSpPr/>
          <p:nvPr/>
        </p:nvGrpSpPr>
        <p:grpSpPr>
          <a:xfrm>
            <a:off x="4073362" y="4379471"/>
            <a:ext cx="1081077" cy="1375536"/>
            <a:chOff x="4073362" y="4379471"/>
            <a:chExt cx="1081077" cy="1375536"/>
          </a:xfrm>
        </p:grpSpPr>
        <p:sp>
          <p:nvSpPr>
            <p:cNvPr id="10" name="Triangle 8">
              <a:extLst>
                <a:ext uri="{FF2B5EF4-FFF2-40B4-BE49-F238E27FC236}">
                  <a16:creationId xmlns:a16="http://schemas.microsoft.com/office/drawing/2014/main" id="{7D057D6D-E8BD-02E7-7194-61DC37A59BFD}"/>
                </a:ext>
              </a:extLst>
            </p:cNvPr>
            <p:cNvSpPr/>
            <p:nvPr/>
          </p:nvSpPr>
          <p:spPr bwMode="auto">
            <a:xfrm>
              <a:off x="4073362" y="5055585"/>
              <a:ext cx="811329" cy="699422"/>
            </a:xfrm>
            <a:prstGeom prst="triangle">
              <a:avLst/>
            </a:prstGeom>
            <a:solidFill>
              <a:srgbClr val="000028"/>
            </a:solidFill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de-DE" sz="10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.1</a:t>
              </a:r>
            </a:p>
          </p:txBody>
        </p:sp>
        <p:sp>
          <p:nvSpPr>
            <p:cNvPr id="60" name="Hexagon 61">
              <a:extLst>
                <a:ext uri="{FF2B5EF4-FFF2-40B4-BE49-F238E27FC236}">
                  <a16:creationId xmlns:a16="http://schemas.microsoft.com/office/drawing/2014/main" id="{8B409DA9-0B60-6D9F-2FB0-0FAD0F22DF2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34439" y="4379471"/>
              <a:ext cx="720000" cy="620689"/>
            </a:xfrm>
            <a:prstGeom prst="hexagon">
              <a:avLst/>
            </a:prstGeom>
            <a:solidFill>
              <a:srgbClr val="000028"/>
            </a:solidFill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00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.2</a:t>
              </a:r>
              <a:endPara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A647DF13-4F09-EC00-E958-D894B6579CB2}"/>
              </a:ext>
            </a:extLst>
          </p:cNvPr>
          <p:cNvGrpSpPr/>
          <p:nvPr/>
        </p:nvGrpSpPr>
        <p:grpSpPr>
          <a:xfrm>
            <a:off x="9942779" y="4261039"/>
            <a:ext cx="1088142" cy="1372847"/>
            <a:chOff x="9942779" y="4261039"/>
            <a:chExt cx="1088142" cy="1372847"/>
          </a:xfrm>
        </p:grpSpPr>
        <p:sp>
          <p:nvSpPr>
            <p:cNvPr id="64" name="Rectangle 65">
              <a:extLst>
                <a:ext uri="{FF2B5EF4-FFF2-40B4-BE49-F238E27FC236}">
                  <a16:creationId xmlns:a16="http://schemas.microsoft.com/office/drawing/2014/main" id="{2098D017-35C9-9CD7-3B27-71BD7803055F}"/>
                </a:ext>
              </a:extLst>
            </p:cNvPr>
            <p:cNvSpPr/>
            <p:nvPr/>
          </p:nvSpPr>
          <p:spPr bwMode="auto">
            <a:xfrm>
              <a:off x="9942779" y="4261039"/>
              <a:ext cx="620689" cy="620689"/>
            </a:xfrm>
            <a:prstGeom prst="rect">
              <a:avLst/>
            </a:prstGeom>
            <a:solidFill>
              <a:srgbClr val="000028"/>
            </a:solidFill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de-DE" sz="1000" dirty="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4.1</a:t>
              </a:r>
            </a:p>
          </p:txBody>
        </p:sp>
        <p:sp>
          <p:nvSpPr>
            <p:cNvPr id="65" name="Hexagon 66">
              <a:extLst>
                <a:ext uri="{FF2B5EF4-FFF2-40B4-BE49-F238E27FC236}">
                  <a16:creationId xmlns:a16="http://schemas.microsoft.com/office/drawing/2014/main" id="{0DD8A818-2A39-A999-40B4-8B05BBFE92B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310921" y="5013197"/>
              <a:ext cx="720000" cy="620689"/>
            </a:xfrm>
            <a:prstGeom prst="hexagon">
              <a:avLst/>
            </a:prstGeom>
            <a:solidFill>
              <a:srgbClr val="000028"/>
            </a:solidFill>
            <a:ln w="9525">
              <a:solidFill>
                <a:srgbClr val="4BB9B9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000">
                  <a:solidFill>
                    <a:srgbClr val="32A0A0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4.2</a:t>
              </a:r>
              <a:endPara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66" name="Gruppieren 3">
            <a:extLst>
              <a:ext uri="{FF2B5EF4-FFF2-40B4-BE49-F238E27FC236}">
                <a16:creationId xmlns:a16="http://schemas.microsoft.com/office/drawing/2014/main" id="{A459C9ED-F166-AFB5-BDF8-57B254229E6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3065039" y="4903253"/>
            <a:ext cx="216045" cy="288000"/>
            <a:chOff x="225162" y="2761580"/>
            <a:chExt cx="270054" cy="360000"/>
          </a:xfrm>
          <a:solidFill>
            <a:srgbClr val="4BB9B9"/>
          </a:solidFill>
        </p:grpSpPr>
        <p:sp>
          <p:nvSpPr>
            <p:cNvPr id="67" name="Eingekerbter Richtungspfeil 2">
              <a:extLst>
                <a:ext uri="{FF2B5EF4-FFF2-40B4-BE49-F238E27FC236}">
                  <a16:creationId xmlns:a16="http://schemas.microsoft.com/office/drawing/2014/main" id="{BFCF035A-AE6B-537F-B8A5-CD823066D365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225162" y="2833588"/>
              <a:ext cx="108000" cy="216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68" name="Eingekerbter Richtungspfeil 132">
              <a:extLst>
                <a:ext uri="{FF2B5EF4-FFF2-40B4-BE49-F238E27FC236}">
                  <a16:creationId xmlns:a16="http://schemas.microsoft.com/office/drawing/2014/main" id="{30A4A141-0339-AB88-AF98-80B6FA2772AD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315216" y="2761580"/>
              <a:ext cx="180000" cy="360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7" name="Gruppieren 3">
            <a:extLst>
              <a:ext uri="{FF2B5EF4-FFF2-40B4-BE49-F238E27FC236}">
                <a16:creationId xmlns:a16="http://schemas.microsoft.com/office/drawing/2014/main" id="{318EDDCE-4081-8003-E233-B61073A71230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gray">
          <a:xfrm>
            <a:off x="6021276" y="4901316"/>
            <a:ext cx="216045" cy="288000"/>
            <a:chOff x="225162" y="2761580"/>
            <a:chExt cx="270054" cy="360000"/>
          </a:xfrm>
          <a:solidFill>
            <a:srgbClr val="4BB9B9"/>
          </a:solidFill>
        </p:grpSpPr>
        <p:sp>
          <p:nvSpPr>
            <p:cNvPr id="99" name="Eingekerbter Richtungspfeil 2">
              <a:extLst>
                <a:ext uri="{FF2B5EF4-FFF2-40B4-BE49-F238E27FC236}">
                  <a16:creationId xmlns:a16="http://schemas.microsoft.com/office/drawing/2014/main" id="{17A878AA-67E5-450D-8C03-479F417D0D08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225162" y="2833588"/>
              <a:ext cx="108000" cy="216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00" name="Eingekerbter Richtungspfeil 132">
              <a:extLst>
                <a:ext uri="{FF2B5EF4-FFF2-40B4-BE49-F238E27FC236}">
                  <a16:creationId xmlns:a16="http://schemas.microsoft.com/office/drawing/2014/main" id="{B60A39D6-499C-D997-C742-C05C258A6E35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315216" y="2761580"/>
              <a:ext cx="180000" cy="360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01" name="Gruppieren 3">
            <a:extLst>
              <a:ext uri="{FF2B5EF4-FFF2-40B4-BE49-F238E27FC236}">
                <a16:creationId xmlns:a16="http://schemas.microsoft.com/office/drawing/2014/main" id="{AC04D3FE-1487-4010-A5DC-D1CD16AAE6CC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gray">
          <a:xfrm>
            <a:off x="9125520" y="4900733"/>
            <a:ext cx="216045" cy="288000"/>
            <a:chOff x="225162" y="2761580"/>
            <a:chExt cx="270054" cy="360000"/>
          </a:xfrm>
          <a:solidFill>
            <a:srgbClr val="4BB9B9"/>
          </a:solidFill>
        </p:grpSpPr>
        <p:sp>
          <p:nvSpPr>
            <p:cNvPr id="102" name="Eingekerbter Richtungspfeil 2">
              <a:extLst>
                <a:ext uri="{FF2B5EF4-FFF2-40B4-BE49-F238E27FC236}">
                  <a16:creationId xmlns:a16="http://schemas.microsoft.com/office/drawing/2014/main" id="{B975310C-CBC2-79BE-86CC-6962F2C79714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225162" y="2833588"/>
              <a:ext cx="108000" cy="216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03" name="Eingekerbter Richtungspfeil 132">
              <a:extLst>
                <a:ext uri="{FF2B5EF4-FFF2-40B4-BE49-F238E27FC236}">
                  <a16:creationId xmlns:a16="http://schemas.microsoft.com/office/drawing/2014/main" id="{C1004A97-8B8B-D4A8-B157-4ABAA0ACE91E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315216" y="2761580"/>
              <a:ext cx="180000" cy="360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105" name="Rectangle 2">
            <a:extLst>
              <a:ext uri="{FF2B5EF4-FFF2-40B4-BE49-F238E27FC236}">
                <a16:creationId xmlns:a16="http://schemas.microsoft.com/office/drawing/2014/main" id="{B4FCAB8A-D9C1-5E26-0B31-BD2F427CA82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6567" y="1648644"/>
            <a:ext cx="2160000" cy="102523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72000" tIns="180000" rIns="36000" bIns="180000" anchor="t">
            <a:sp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32A0A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ata Acquisition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dentify and acquire raw data as potential evidential data.</a:t>
            </a:r>
          </a:p>
        </p:txBody>
      </p:sp>
      <p:sp>
        <p:nvSpPr>
          <p:cNvPr id="107" name="Rectangle 2">
            <a:extLst>
              <a:ext uri="{FF2B5EF4-FFF2-40B4-BE49-F238E27FC236}">
                <a16:creationId xmlns:a16="http://schemas.microsoft.com/office/drawing/2014/main" id="{D0352BEC-1474-B3A9-6C05-24B3E578DADC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03338" y="1648644"/>
            <a:ext cx="2160000" cy="102523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72000" tIns="180000" rIns="36000" bIns="180000" anchor="t">
            <a:spAutoFit/>
          </a:bodyPr>
          <a:lstStyle/>
          <a:p>
            <a:pPr fontAlgn="t"/>
            <a:r>
              <a:rPr lang="en-US" sz="1400" dirty="0">
                <a:solidFill>
                  <a:srgbClr val="32A0A0"/>
                </a:solidFill>
              </a:rPr>
              <a:t>Data Preparation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dentify and process steps required for data preparation.</a:t>
            </a:r>
          </a:p>
        </p:txBody>
      </p:sp>
      <p:sp>
        <p:nvSpPr>
          <p:cNvPr id="108" name="Rectangle 2">
            <a:extLst>
              <a:ext uri="{FF2B5EF4-FFF2-40B4-BE49-F238E27FC236}">
                <a16:creationId xmlns:a16="http://schemas.microsoft.com/office/drawing/2014/main" id="{D27EC060-AA63-7DD6-80A6-A709C4446746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80109" y="1648644"/>
            <a:ext cx="2160000" cy="102523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72000" tIns="180000" rIns="36000" bIns="180000" anchor="t">
            <a:sp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32A0A0"/>
                </a:solidFill>
              </a:rPr>
              <a:t>Data Analysis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Understanding attack capabilities.</a:t>
            </a:r>
          </a:p>
        </p:txBody>
      </p:sp>
      <p:sp>
        <p:nvSpPr>
          <p:cNvPr id="109" name="Rectangle 2">
            <a:extLst>
              <a:ext uri="{FF2B5EF4-FFF2-40B4-BE49-F238E27FC236}">
                <a16:creationId xmlns:a16="http://schemas.microsoft.com/office/drawing/2014/main" id="{95F63357-2AF5-B52A-EE9E-E83D81C1B486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256879" y="1648644"/>
            <a:ext cx="2087956" cy="102523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72000" tIns="180000" rIns="36000" bIns="180000" anchor="t">
            <a:sp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32A0A0"/>
                </a:solidFill>
              </a:rPr>
              <a:t>Analysis Report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repare report &amp; recommend counter measures</a:t>
            </a:r>
          </a:p>
        </p:txBody>
      </p:sp>
      <p:grpSp>
        <p:nvGrpSpPr>
          <p:cNvPr id="110" name="Gruppieren 3">
            <a:extLst>
              <a:ext uri="{FF2B5EF4-FFF2-40B4-BE49-F238E27FC236}">
                <a16:creationId xmlns:a16="http://schemas.microsoft.com/office/drawing/2014/main" id="{5A175B09-D87D-953D-0576-16F7B4296C1E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gray">
          <a:xfrm>
            <a:off x="3036930" y="2017261"/>
            <a:ext cx="216045" cy="288000"/>
            <a:chOff x="225162" y="2761580"/>
            <a:chExt cx="270054" cy="360000"/>
          </a:xfrm>
          <a:solidFill>
            <a:srgbClr val="4BB9B9"/>
          </a:solidFill>
        </p:grpSpPr>
        <p:sp>
          <p:nvSpPr>
            <p:cNvPr id="111" name="Eingekerbter Richtungspfeil 2">
              <a:extLst>
                <a:ext uri="{FF2B5EF4-FFF2-40B4-BE49-F238E27FC236}">
                  <a16:creationId xmlns:a16="http://schemas.microsoft.com/office/drawing/2014/main" id="{6C0ACF75-9824-B2F7-E467-0D1C13614E2E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225162" y="2833588"/>
              <a:ext cx="108000" cy="216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12" name="Eingekerbter Richtungspfeil 132">
              <a:extLst>
                <a:ext uri="{FF2B5EF4-FFF2-40B4-BE49-F238E27FC236}">
                  <a16:creationId xmlns:a16="http://schemas.microsoft.com/office/drawing/2014/main" id="{C95489EE-A4DD-F75C-49CB-27AB4C66625C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315216" y="2761580"/>
              <a:ext cx="180000" cy="360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3" name="Gruppieren 3">
            <a:extLst>
              <a:ext uri="{FF2B5EF4-FFF2-40B4-BE49-F238E27FC236}">
                <a16:creationId xmlns:a16="http://schemas.microsoft.com/office/drawing/2014/main" id="{275E660F-8759-029C-7E25-DA505D6E914B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gray">
          <a:xfrm>
            <a:off x="5913701" y="2017261"/>
            <a:ext cx="216045" cy="288000"/>
            <a:chOff x="225162" y="2761580"/>
            <a:chExt cx="270054" cy="360000"/>
          </a:xfrm>
          <a:solidFill>
            <a:srgbClr val="4BB9B9"/>
          </a:solidFill>
        </p:grpSpPr>
        <p:sp>
          <p:nvSpPr>
            <p:cNvPr id="114" name="Eingekerbter Richtungspfeil 2">
              <a:extLst>
                <a:ext uri="{FF2B5EF4-FFF2-40B4-BE49-F238E27FC236}">
                  <a16:creationId xmlns:a16="http://schemas.microsoft.com/office/drawing/2014/main" id="{B3F4CD2D-D9DC-95EC-8EDB-82B9F035291A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225162" y="2833588"/>
              <a:ext cx="108000" cy="216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15" name="Eingekerbter Richtungspfeil 132">
              <a:extLst>
                <a:ext uri="{FF2B5EF4-FFF2-40B4-BE49-F238E27FC236}">
                  <a16:creationId xmlns:a16="http://schemas.microsoft.com/office/drawing/2014/main" id="{58E63327-1E45-0ED8-11EE-B4CA97A62132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315216" y="2761580"/>
              <a:ext cx="180000" cy="360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6" name="Gruppieren 3">
            <a:extLst>
              <a:ext uri="{FF2B5EF4-FFF2-40B4-BE49-F238E27FC236}">
                <a16:creationId xmlns:a16="http://schemas.microsoft.com/office/drawing/2014/main" id="{16D4C92E-C25A-1989-9687-C3CA4AC0F4EE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gray">
          <a:xfrm>
            <a:off x="8790472" y="2017261"/>
            <a:ext cx="216045" cy="288000"/>
            <a:chOff x="225162" y="2761580"/>
            <a:chExt cx="270054" cy="360000"/>
          </a:xfrm>
          <a:solidFill>
            <a:srgbClr val="4BB9B9"/>
          </a:solidFill>
        </p:grpSpPr>
        <p:sp>
          <p:nvSpPr>
            <p:cNvPr id="117" name="Eingekerbter Richtungspfeil 2">
              <a:extLst>
                <a:ext uri="{FF2B5EF4-FFF2-40B4-BE49-F238E27FC236}">
                  <a16:creationId xmlns:a16="http://schemas.microsoft.com/office/drawing/2014/main" id="{4F628F48-E2BD-2B19-EB5D-D7E32B1ABCEE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225162" y="2833588"/>
              <a:ext cx="108000" cy="216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18" name="Eingekerbter Richtungspfeil 132">
              <a:extLst>
                <a:ext uri="{FF2B5EF4-FFF2-40B4-BE49-F238E27FC236}">
                  <a16:creationId xmlns:a16="http://schemas.microsoft.com/office/drawing/2014/main" id="{D63CF465-E0F3-EC21-C8E6-7BE59BCCBC3E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315216" y="2761580"/>
              <a:ext cx="180000" cy="360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9" name="Rectangle 2">
            <a:extLst>
              <a:ext uri="{FF2B5EF4-FFF2-40B4-BE49-F238E27FC236}">
                <a16:creationId xmlns:a16="http://schemas.microsoft.com/office/drawing/2014/main" id="{72EA828D-802D-35B5-CB92-66F7365B634B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26567" y="1419484"/>
            <a:ext cx="3478516" cy="21544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t">
            <a:sp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ttack Analysis &amp; Forensics </a:t>
            </a:r>
            <a:r>
              <a:rPr lang="en-US" sz="10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(simplified steps)</a:t>
            </a:r>
          </a:p>
        </p:txBody>
      </p:sp>
      <p:pic>
        <p:nvPicPr>
          <p:cNvPr id="3" name="Picture Placeholder 7">
            <a:extLst>
              <a:ext uri="{FF2B5EF4-FFF2-40B4-BE49-F238E27FC236}">
                <a16:creationId xmlns:a16="http://schemas.microsoft.com/office/drawing/2014/main" id="{314DDDE6-67BD-620A-F8A6-EF6596F9208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BEBA8EAE-BF5A-486C-A8C5-ECC9F3942E4B}">
                <a14:imgProps xmlns:a14="http://schemas.microsoft.com/office/drawing/2010/main">
                  <a14:imgLayer r:embed="rId27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890" b="7890"/>
          <a:stretch>
            <a:fillRect/>
          </a:stretch>
        </p:blipFill>
        <p:spPr>
          <a:xfrm>
            <a:off x="3030346" y="3715697"/>
            <a:ext cx="4965700" cy="2232025"/>
          </a:xfrm>
          <a:prstGeom prst="rect">
            <a:avLst/>
          </a:prstGeom>
          <a:effectLst>
            <a:outerShdw blurRad="152400" dist="762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Placeholder 6">
            <a:extLst>
              <a:ext uri="{FF2B5EF4-FFF2-40B4-BE49-F238E27FC236}">
                <a16:creationId xmlns:a16="http://schemas.microsoft.com/office/drawing/2014/main" id="{0DC72545-9240-EA65-C6E6-ACECCEBA65CF}"/>
              </a:ext>
            </a:extLst>
          </p:cNvPr>
          <p:cNvPicPr>
            <a:picLocks noChangeAspect="1"/>
          </p:cNvPicPr>
          <p:nvPr/>
        </p:nvPicPr>
        <p:blipFill rotWithShape="1"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96" t="26388" r="4756" b="26388"/>
          <a:stretch/>
        </p:blipFill>
        <p:spPr>
          <a:xfrm>
            <a:off x="6157073" y="4169792"/>
            <a:ext cx="4965701" cy="2304000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6709E6F5-1302-F2DE-4AE6-ACA61326DF0A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98" y="3100102"/>
            <a:ext cx="4960158" cy="2435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6172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0395"/>
    </mc:Choice>
    <mc:Fallback>
      <p:transition spd="slow" advTm="40395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esterday: The problem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E5788E08-0EAB-5BB3-C09F-3D77B0E89064}"/>
              </a:ext>
            </a:extLst>
          </p:cNvPr>
          <p:cNvGrpSpPr/>
          <p:nvPr/>
        </p:nvGrpSpPr>
        <p:grpSpPr>
          <a:xfrm>
            <a:off x="4313279" y="2504471"/>
            <a:ext cx="3565443" cy="562142"/>
            <a:chOff x="4452050" y="2794811"/>
            <a:chExt cx="3565443" cy="562142"/>
          </a:xfrm>
        </p:grpSpPr>
        <p:grpSp>
          <p:nvGrpSpPr>
            <p:cNvPr id="14" name="Gruppieren 3">
              <a:extLst>
                <a:ext uri="{FF2B5EF4-FFF2-40B4-BE49-F238E27FC236}">
                  <a16:creationId xmlns:a16="http://schemas.microsoft.com/office/drawing/2014/main" id="{4E5FE819-FB76-D6C7-6250-732D069B74C3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gray">
            <a:xfrm>
              <a:off x="4452050" y="2950714"/>
              <a:ext cx="216045" cy="288000"/>
              <a:chOff x="225162" y="2761580"/>
              <a:chExt cx="270054" cy="360000"/>
            </a:xfrm>
            <a:solidFill>
              <a:srgbClr val="0F8287"/>
            </a:solidFill>
          </p:grpSpPr>
          <p:sp>
            <p:nvSpPr>
              <p:cNvPr id="16" name="Eingekerbter Richtungspfeil 2">
                <a:extLst>
                  <a:ext uri="{FF2B5EF4-FFF2-40B4-BE49-F238E27FC236}">
                    <a16:creationId xmlns:a16="http://schemas.microsoft.com/office/drawing/2014/main" id="{6B95F68F-594B-A975-D317-C7A2539C3D17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 bwMode="gray">
              <a:xfrm>
                <a:off x="225162" y="2833588"/>
                <a:ext cx="108000" cy="216000"/>
              </a:xfrm>
              <a:prstGeom prst="chevron">
                <a:avLst>
                  <a:gd name="adj" fmla="val 41955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/>
              <a:lstStyle/>
              <a:p>
                <a:pPr algn="ctr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</a:pPr>
                <a:endParaRPr lang="en-US" sz="1600" dirty="0">
                  <a:solidFill>
                    <a:srgbClr val="4BB9B9"/>
                  </a:solidFill>
                </a:endParaRPr>
              </a:p>
            </p:txBody>
          </p:sp>
          <p:sp>
            <p:nvSpPr>
              <p:cNvPr id="17" name="Eingekerbter Richtungspfeil 132">
                <a:extLst>
                  <a:ext uri="{FF2B5EF4-FFF2-40B4-BE49-F238E27FC236}">
                    <a16:creationId xmlns:a16="http://schemas.microsoft.com/office/drawing/2014/main" id="{36A7502F-793E-2E55-5B91-5A093907C754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 bwMode="gray">
              <a:xfrm>
                <a:off x="315216" y="2761580"/>
                <a:ext cx="180000" cy="360000"/>
              </a:xfrm>
              <a:prstGeom prst="chevron">
                <a:avLst>
                  <a:gd name="adj" fmla="val 41955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/>
              <a:lstStyle/>
              <a:p>
                <a:pPr algn="ctr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</a:pPr>
                <a:endParaRPr lang="en-US" sz="1600" dirty="0">
                  <a:solidFill>
                    <a:srgbClr val="4BB9B9"/>
                  </a:solidFill>
                </a:endParaRPr>
              </a:p>
            </p:txBody>
          </p:sp>
        </p:grpSp>
        <p:sp>
          <p:nvSpPr>
            <p:cNvPr id="15" name="TextBox 2">
              <a:extLst>
                <a:ext uri="{FF2B5EF4-FFF2-40B4-BE49-F238E27FC236}">
                  <a16:creationId xmlns:a16="http://schemas.microsoft.com/office/drawing/2014/main" id="{263493E5-F73D-7C7D-5D98-2FFFB146EE4F}"/>
                </a:ext>
              </a:extLst>
            </p:cNvPr>
            <p:cNvSpPr txBox="1"/>
            <p:nvPr/>
          </p:nvSpPr>
          <p:spPr>
            <a:xfrm>
              <a:off x="4862783" y="2794811"/>
              <a:ext cx="3154710" cy="562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3600" b="1" dirty="0">
                  <a:solidFill>
                    <a:srgbClr val="0F8287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nsistency ?</a:t>
              </a:r>
            </a:p>
          </p:txBody>
        </p:sp>
      </p:grpSp>
      <p:grpSp>
        <p:nvGrpSpPr>
          <p:cNvPr id="18" name="Group 5">
            <a:extLst>
              <a:ext uri="{FF2B5EF4-FFF2-40B4-BE49-F238E27FC236}">
                <a16:creationId xmlns:a16="http://schemas.microsoft.com/office/drawing/2014/main" id="{C31A5BF9-9842-5464-8609-9E3ECE71BDB0}"/>
              </a:ext>
            </a:extLst>
          </p:cNvPr>
          <p:cNvGrpSpPr/>
          <p:nvPr/>
        </p:nvGrpSpPr>
        <p:grpSpPr>
          <a:xfrm>
            <a:off x="4544111" y="3791388"/>
            <a:ext cx="3103778" cy="562142"/>
            <a:chOff x="4452050" y="4100896"/>
            <a:chExt cx="3103778" cy="562142"/>
          </a:xfrm>
        </p:grpSpPr>
        <p:grpSp>
          <p:nvGrpSpPr>
            <p:cNvPr id="19" name="Gruppieren 3">
              <a:extLst>
                <a:ext uri="{FF2B5EF4-FFF2-40B4-BE49-F238E27FC236}">
                  <a16:creationId xmlns:a16="http://schemas.microsoft.com/office/drawing/2014/main" id="{827BA824-7BD0-1AB0-BCBC-F9FE5685847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 bwMode="gray">
            <a:xfrm>
              <a:off x="4452050" y="4237967"/>
              <a:ext cx="216045" cy="288000"/>
              <a:chOff x="225162" y="2761580"/>
              <a:chExt cx="270054" cy="360000"/>
            </a:xfrm>
            <a:solidFill>
              <a:srgbClr val="0F8287"/>
            </a:solidFill>
          </p:grpSpPr>
          <p:sp>
            <p:nvSpPr>
              <p:cNvPr id="22" name="Eingekerbter Richtungspfeil 2">
                <a:extLst>
                  <a:ext uri="{FF2B5EF4-FFF2-40B4-BE49-F238E27FC236}">
                    <a16:creationId xmlns:a16="http://schemas.microsoft.com/office/drawing/2014/main" id="{47F109CF-8B85-2F91-94B4-6C7EB26BD89A}"/>
                  </a:ext>
                </a:extLst>
              </p:cNvPr>
              <p:cNvSpPr/>
              <p:nvPr>
                <p:custDataLst>
                  <p:tags r:id="rId2"/>
                </p:custDataLst>
              </p:nvPr>
            </p:nvSpPr>
            <p:spPr bwMode="gray">
              <a:xfrm>
                <a:off x="225162" y="2833588"/>
                <a:ext cx="108000" cy="216000"/>
              </a:xfrm>
              <a:prstGeom prst="chevron">
                <a:avLst>
                  <a:gd name="adj" fmla="val 41955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/>
              <a:lstStyle/>
              <a:p>
                <a:pPr algn="ctr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</a:pPr>
                <a:endParaRPr lang="en-US" sz="1600" dirty="0">
                  <a:solidFill>
                    <a:srgbClr val="4BB9B9"/>
                  </a:solidFill>
                </a:endParaRPr>
              </a:p>
            </p:txBody>
          </p:sp>
          <p:sp>
            <p:nvSpPr>
              <p:cNvPr id="23" name="Eingekerbter Richtungspfeil 132">
                <a:extLst>
                  <a:ext uri="{FF2B5EF4-FFF2-40B4-BE49-F238E27FC236}">
                    <a16:creationId xmlns:a16="http://schemas.microsoft.com/office/drawing/2014/main" id="{7F9B3B53-847B-E822-8BA2-3B247E4DEE54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 bwMode="gray">
              <a:xfrm>
                <a:off x="315216" y="2761580"/>
                <a:ext cx="180000" cy="360000"/>
              </a:xfrm>
              <a:prstGeom prst="chevron">
                <a:avLst>
                  <a:gd name="adj" fmla="val 41955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/>
              <a:lstStyle/>
              <a:p>
                <a:pPr algn="ctr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</a:pPr>
                <a:endParaRPr lang="en-US" sz="1600" dirty="0">
                  <a:solidFill>
                    <a:srgbClr val="4BB9B9"/>
                  </a:solidFill>
                </a:endParaRPr>
              </a:p>
            </p:txBody>
          </p:sp>
        </p:grpSp>
        <p:sp>
          <p:nvSpPr>
            <p:cNvPr id="20" name="TextBox 3">
              <a:extLst>
                <a:ext uri="{FF2B5EF4-FFF2-40B4-BE49-F238E27FC236}">
                  <a16:creationId xmlns:a16="http://schemas.microsoft.com/office/drawing/2014/main" id="{11CFED6E-139D-5D4D-B69D-97DA76B11611}"/>
                </a:ext>
              </a:extLst>
            </p:cNvPr>
            <p:cNvSpPr txBox="1"/>
            <p:nvPr/>
          </p:nvSpPr>
          <p:spPr>
            <a:xfrm>
              <a:off x="4862783" y="4100896"/>
              <a:ext cx="2693045" cy="562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3600" b="1" dirty="0" err="1">
                  <a:solidFill>
                    <a:srgbClr val="0F8287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calability</a:t>
              </a:r>
              <a:r>
                <a:rPr lang="de-DE" sz="3600" b="1" dirty="0">
                  <a:solidFill>
                    <a:srgbClr val="0F8287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721310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2524"/>
    </mc:Choice>
    <mc:Fallback>
      <p:transition spd="slow" advTm="52524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813C3CFC-9697-4716-A651-26E69FE6A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nsics today: The plan</a:t>
            </a:r>
            <a:endParaRPr lang="en-US" b="0" noProof="0" dirty="0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659537E0-7DD0-4DA0-A93A-15FBB24A8F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3 | Demian Kellermann | 2023-10-15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B1948C2-BCB7-4A85-B181-A476AEC4C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AA7D96F8-E591-5CF6-13CF-07EA51410B0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29551" y="3073484"/>
            <a:ext cx="11086248" cy="43088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/>
          <a:p>
            <a:pPr marL="0" lvl="2" indent="0" algn="ctr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2800" b="1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utomated deployment of all applicable tools.</a:t>
            </a:r>
            <a:endParaRPr lang="en-US" sz="2800" dirty="0">
              <a:solidFill>
                <a:srgbClr val="0F8287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" name="Hexagon 104">
            <a:extLst>
              <a:ext uri="{FF2B5EF4-FFF2-40B4-BE49-F238E27FC236}">
                <a16:creationId xmlns:a16="http://schemas.microsoft.com/office/drawing/2014/main" id="{21D68B25-98E8-8A18-1E7C-E740B90EE782}"/>
              </a:ext>
            </a:extLst>
          </p:cNvPr>
          <p:cNvSpPr>
            <a:spLocks noChangeAspect="1"/>
          </p:cNvSpPr>
          <p:nvPr/>
        </p:nvSpPr>
        <p:spPr bwMode="auto">
          <a:xfrm>
            <a:off x="2140102" y="4599694"/>
            <a:ext cx="720000" cy="620689"/>
          </a:xfrm>
          <a:prstGeom prst="hexagon">
            <a:avLst/>
          </a:prstGeom>
          <a:solidFill>
            <a:srgbClr val="BECDD7">
              <a:alpha val="2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000" dirty="0">
              <a:solidFill>
                <a:srgbClr val="50BED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Hexagon 105">
            <a:extLst>
              <a:ext uri="{FF2B5EF4-FFF2-40B4-BE49-F238E27FC236}">
                <a16:creationId xmlns:a16="http://schemas.microsoft.com/office/drawing/2014/main" id="{C639814E-44A2-F2F7-07D7-328E22E095D9}"/>
              </a:ext>
            </a:extLst>
          </p:cNvPr>
          <p:cNvSpPr>
            <a:spLocks noChangeAspect="1"/>
          </p:cNvSpPr>
          <p:nvPr/>
        </p:nvSpPr>
        <p:spPr bwMode="auto">
          <a:xfrm>
            <a:off x="932633" y="4599696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1.1</a:t>
            </a:r>
          </a:p>
        </p:txBody>
      </p:sp>
      <p:sp>
        <p:nvSpPr>
          <p:cNvPr id="9" name="Hexagon 106">
            <a:extLst>
              <a:ext uri="{FF2B5EF4-FFF2-40B4-BE49-F238E27FC236}">
                <a16:creationId xmlns:a16="http://schemas.microsoft.com/office/drawing/2014/main" id="{EC202A37-006E-6E71-9519-00275DB8497B}"/>
              </a:ext>
            </a:extLst>
          </p:cNvPr>
          <p:cNvSpPr>
            <a:spLocks noChangeAspect="1"/>
          </p:cNvSpPr>
          <p:nvPr/>
        </p:nvSpPr>
        <p:spPr bwMode="auto">
          <a:xfrm>
            <a:off x="932632" y="5256384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1.2</a:t>
            </a:r>
          </a:p>
        </p:txBody>
      </p:sp>
      <p:sp>
        <p:nvSpPr>
          <p:cNvPr id="10" name="Hexagon 107">
            <a:extLst>
              <a:ext uri="{FF2B5EF4-FFF2-40B4-BE49-F238E27FC236}">
                <a16:creationId xmlns:a16="http://schemas.microsoft.com/office/drawing/2014/main" id="{FEE1F28C-4D48-E15E-CB95-2CDB7B68FE43}"/>
              </a:ext>
            </a:extLst>
          </p:cNvPr>
          <p:cNvSpPr>
            <a:spLocks noChangeAspect="1"/>
          </p:cNvSpPr>
          <p:nvPr/>
        </p:nvSpPr>
        <p:spPr bwMode="auto">
          <a:xfrm>
            <a:off x="1536232" y="4928039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1.3</a:t>
            </a:r>
          </a:p>
        </p:txBody>
      </p:sp>
      <p:sp>
        <p:nvSpPr>
          <p:cNvPr id="11" name="Hexagon 108">
            <a:extLst>
              <a:ext uri="{FF2B5EF4-FFF2-40B4-BE49-F238E27FC236}">
                <a16:creationId xmlns:a16="http://schemas.microsoft.com/office/drawing/2014/main" id="{CA27F016-13A1-9776-EA1F-D829D7621147}"/>
              </a:ext>
            </a:extLst>
          </p:cNvPr>
          <p:cNvSpPr>
            <a:spLocks noChangeAspect="1"/>
          </p:cNvSpPr>
          <p:nvPr/>
        </p:nvSpPr>
        <p:spPr bwMode="auto">
          <a:xfrm>
            <a:off x="3973315" y="4271351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2.1</a:t>
            </a:r>
          </a:p>
        </p:txBody>
      </p:sp>
      <p:sp>
        <p:nvSpPr>
          <p:cNvPr id="12" name="Hexagon 109">
            <a:extLst>
              <a:ext uri="{FF2B5EF4-FFF2-40B4-BE49-F238E27FC236}">
                <a16:creationId xmlns:a16="http://schemas.microsoft.com/office/drawing/2014/main" id="{A3F719B1-D9A1-BDCF-7E31-033C849A497C}"/>
              </a:ext>
            </a:extLst>
          </p:cNvPr>
          <p:cNvSpPr>
            <a:spLocks noChangeAspect="1"/>
          </p:cNvSpPr>
          <p:nvPr/>
        </p:nvSpPr>
        <p:spPr bwMode="auto">
          <a:xfrm>
            <a:off x="4588203" y="5256384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2.4</a:t>
            </a:r>
          </a:p>
        </p:txBody>
      </p:sp>
      <p:sp>
        <p:nvSpPr>
          <p:cNvPr id="21" name="Hexagon 110">
            <a:extLst>
              <a:ext uri="{FF2B5EF4-FFF2-40B4-BE49-F238E27FC236}">
                <a16:creationId xmlns:a16="http://schemas.microsoft.com/office/drawing/2014/main" id="{64CE708E-77F3-EA13-B891-2CE8B760AC37}"/>
              </a:ext>
            </a:extLst>
          </p:cNvPr>
          <p:cNvSpPr>
            <a:spLocks noChangeAspect="1"/>
          </p:cNvSpPr>
          <p:nvPr/>
        </p:nvSpPr>
        <p:spPr bwMode="auto">
          <a:xfrm>
            <a:off x="3973314" y="4928039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2.2</a:t>
            </a:r>
            <a:endParaRPr lang="en-US" sz="1000" dirty="0">
              <a:solidFill>
                <a:srgbClr val="32A0A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4" name="Hexagon 111">
            <a:extLst>
              <a:ext uri="{FF2B5EF4-FFF2-40B4-BE49-F238E27FC236}">
                <a16:creationId xmlns:a16="http://schemas.microsoft.com/office/drawing/2014/main" id="{BF980525-DB5A-8291-B0B8-3914EC133772}"/>
              </a:ext>
            </a:extLst>
          </p:cNvPr>
          <p:cNvSpPr>
            <a:spLocks noChangeAspect="1"/>
          </p:cNvSpPr>
          <p:nvPr/>
        </p:nvSpPr>
        <p:spPr bwMode="auto">
          <a:xfrm>
            <a:off x="4588203" y="4599694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2.3</a:t>
            </a:r>
          </a:p>
        </p:txBody>
      </p:sp>
      <p:sp>
        <p:nvSpPr>
          <p:cNvPr id="25" name="Hexagon 112">
            <a:extLst>
              <a:ext uri="{FF2B5EF4-FFF2-40B4-BE49-F238E27FC236}">
                <a16:creationId xmlns:a16="http://schemas.microsoft.com/office/drawing/2014/main" id="{B643522A-1436-BB2A-A577-D70661405A98}"/>
              </a:ext>
            </a:extLst>
          </p:cNvPr>
          <p:cNvSpPr>
            <a:spLocks noChangeAspect="1"/>
          </p:cNvSpPr>
          <p:nvPr/>
        </p:nvSpPr>
        <p:spPr bwMode="auto">
          <a:xfrm>
            <a:off x="6425778" y="4283877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3.1</a:t>
            </a:r>
          </a:p>
        </p:txBody>
      </p:sp>
      <p:sp>
        <p:nvSpPr>
          <p:cNvPr id="26" name="Hexagon 113">
            <a:extLst>
              <a:ext uri="{FF2B5EF4-FFF2-40B4-BE49-F238E27FC236}">
                <a16:creationId xmlns:a16="http://schemas.microsoft.com/office/drawing/2014/main" id="{E34586CA-82CC-C74B-E8CE-DDAD476DF381}"/>
              </a:ext>
            </a:extLst>
          </p:cNvPr>
          <p:cNvSpPr>
            <a:spLocks noChangeAspect="1"/>
          </p:cNvSpPr>
          <p:nvPr/>
        </p:nvSpPr>
        <p:spPr bwMode="auto">
          <a:xfrm>
            <a:off x="7029377" y="5268910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3.4</a:t>
            </a:r>
          </a:p>
        </p:txBody>
      </p:sp>
      <p:sp>
        <p:nvSpPr>
          <p:cNvPr id="27" name="Hexagon 114">
            <a:extLst>
              <a:ext uri="{FF2B5EF4-FFF2-40B4-BE49-F238E27FC236}">
                <a16:creationId xmlns:a16="http://schemas.microsoft.com/office/drawing/2014/main" id="{0FA8907B-1FD4-6061-159C-27938B7DD676}"/>
              </a:ext>
            </a:extLst>
          </p:cNvPr>
          <p:cNvSpPr>
            <a:spLocks noChangeAspect="1"/>
          </p:cNvSpPr>
          <p:nvPr/>
        </p:nvSpPr>
        <p:spPr bwMode="auto">
          <a:xfrm>
            <a:off x="6425777" y="4940565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3.2</a:t>
            </a:r>
          </a:p>
        </p:txBody>
      </p:sp>
      <p:sp>
        <p:nvSpPr>
          <p:cNvPr id="28" name="Hexagon 115">
            <a:extLst>
              <a:ext uri="{FF2B5EF4-FFF2-40B4-BE49-F238E27FC236}">
                <a16:creationId xmlns:a16="http://schemas.microsoft.com/office/drawing/2014/main" id="{7D6A529F-823D-31D3-2263-E6C6C7F083E7}"/>
              </a:ext>
            </a:extLst>
          </p:cNvPr>
          <p:cNvSpPr>
            <a:spLocks noChangeAspect="1"/>
          </p:cNvSpPr>
          <p:nvPr/>
        </p:nvSpPr>
        <p:spPr bwMode="auto">
          <a:xfrm>
            <a:off x="7029377" y="4612220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3.3</a:t>
            </a:r>
          </a:p>
        </p:txBody>
      </p:sp>
      <p:sp>
        <p:nvSpPr>
          <p:cNvPr id="29" name="Hexagon 116">
            <a:extLst>
              <a:ext uri="{FF2B5EF4-FFF2-40B4-BE49-F238E27FC236}">
                <a16:creationId xmlns:a16="http://schemas.microsoft.com/office/drawing/2014/main" id="{B475A467-463F-D926-FED0-C103BAF03647}"/>
              </a:ext>
            </a:extLst>
          </p:cNvPr>
          <p:cNvSpPr>
            <a:spLocks noChangeAspect="1"/>
          </p:cNvSpPr>
          <p:nvPr/>
        </p:nvSpPr>
        <p:spPr bwMode="auto">
          <a:xfrm>
            <a:off x="7632547" y="4940565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3.6</a:t>
            </a:r>
          </a:p>
        </p:txBody>
      </p:sp>
      <p:sp>
        <p:nvSpPr>
          <p:cNvPr id="30" name="Hexagon 117">
            <a:extLst>
              <a:ext uri="{FF2B5EF4-FFF2-40B4-BE49-F238E27FC236}">
                <a16:creationId xmlns:a16="http://schemas.microsoft.com/office/drawing/2014/main" id="{86988B13-D162-2D08-3CE0-F9AE02A53E1D}"/>
              </a:ext>
            </a:extLst>
          </p:cNvPr>
          <p:cNvSpPr>
            <a:spLocks noChangeAspect="1"/>
          </p:cNvSpPr>
          <p:nvPr/>
        </p:nvSpPr>
        <p:spPr bwMode="auto">
          <a:xfrm>
            <a:off x="7632547" y="4283877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3.5</a:t>
            </a:r>
          </a:p>
        </p:txBody>
      </p:sp>
      <p:sp>
        <p:nvSpPr>
          <p:cNvPr id="31" name="Hexagon 118">
            <a:extLst>
              <a:ext uri="{FF2B5EF4-FFF2-40B4-BE49-F238E27FC236}">
                <a16:creationId xmlns:a16="http://schemas.microsoft.com/office/drawing/2014/main" id="{D7C95394-F823-741C-FC40-B27493BFF159}"/>
              </a:ext>
            </a:extLst>
          </p:cNvPr>
          <p:cNvSpPr>
            <a:spLocks noChangeAspect="1"/>
          </p:cNvSpPr>
          <p:nvPr/>
        </p:nvSpPr>
        <p:spPr bwMode="auto">
          <a:xfrm>
            <a:off x="8232623" y="5268910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3.8</a:t>
            </a:r>
          </a:p>
        </p:txBody>
      </p:sp>
      <p:sp>
        <p:nvSpPr>
          <p:cNvPr id="32" name="Hexagon 119">
            <a:extLst>
              <a:ext uri="{FF2B5EF4-FFF2-40B4-BE49-F238E27FC236}">
                <a16:creationId xmlns:a16="http://schemas.microsoft.com/office/drawing/2014/main" id="{D64AB87C-FCB9-88EE-4412-F8691CE7DE93}"/>
              </a:ext>
            </a:extLst>
          </p:cNvPr>
          <p:cNvSpPr>
            <a:spLocks noChangeAspect="1"/>
          </p:cNvSpPr>
          <p:nvPr/>
        </p:nvSpPr>
        <p:spPr bwMode="auto">
          <a:xfrm>
            <a:off x="8232623" y="4612219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3.7</a:t>
            </a:r>
          </a:p>
        </p:txBody>
      </p:sp>
      <p:sp>
        <p:nvSpPr>
          <p:cNvPr id="33" name="Hexagon 120">
            <a:extLst>
              <a:ext uri="{FF2B5EF4-FFF2-40B4-BE49-F238E27FC236}">
                <a16:creationId xmlns:a16="http://schemas.microsoft.com/office/drawing/2014/main" id="{7D909C47-A1B8-4C0B-F50E-F59B5C5D15D7}"/>
              </a:ext>
            </a:extLst>
          </p:cNvPr>
          <p:cNvSpPr>
            <a:spLocks noChangeAspect="1"/>
          </p:cNvSpPr>
          <p:nvPr/>
        </p:nvSpPr>
        <p:spPr bwMode="auto">
          <a:xfrm>
            <a:off x="10032852" y="4283877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4.1</a:t>
            </a:r>
          </a:p>
        </p:txBody>
      </p:sp>
      <p:sp>
        <p:nvSpPr>
          <p:cNvPr id="34" name="Hexagon 121">
            <a:extLst>
              <a:ext uri="{FF2B5EF4-FFF2-40B4-BE49-F238E27FC236}">
                <a16:creationId xmlns:a16="http://schemas.microsoft.com/office/drawing/2014/main" id="{87CD7486-EDFA-89E2-3E52-9276887E2B26}"/>
              </a:ext>
            </a:extLst>
          </p:cNvPr>
          <p:cNvSpPr>
            <a:spLocks noChangeAspect="1"/>
          </p:cNvSpPr>
          <p:nvPr/>
        </p:nvSpPr>
        <p:spPr bwMode="auto">
          <a:xfrm>
            <a:off x="10032851" y="4940565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4.2</a:t>
            </a:r>
          </a:p>
        </p:txBody>
      </p:sp>
      <p:sp>
        <p:nvSpPr>
          <p:cNvPr id="35" name="Hexagon 122">
            <a:extLst>
              <a:ext uri="{FF2B5EF4-FFF2-40B4-BE49-F238E27FC236}">
                <a16:creationId xmlns:a16="http://schemas.microsoft.com/office/drawing/2014/main" id="{165AE19E-28DB-740C-4F0A-9AF2E4BA0C1D}"/>
              </a:ext>
            </a:extLst>
          </p:cNvPr>
          <p:cNvSpPr>
            <a:spLocks noChangeAspect="1"/>
          </p:cNvSpPr>
          <p:nvPr/>
        </p:nvSpPr>
        <p:spPr bwMode="auto">
          <a:xfrm>
            <a:off x="10636451" y="4612220"/>
            <a:ext cx="720000" cy="620689"/>
          </a:xfrm>
          <a:prstGeom prst="hexagon">
            <a:avLst/>
          </a:prstGeom>
          <a:solidFill>
            <a:srgbClr val="333353"/>
          </a:solidFill>
          <a:ln w="9525">
            <a:solidFill>
              <a:srgbClr val="4BB9B9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32A0A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4.3</a:t>
            </a:r>
          </a:p>
        </p:txBody>
      </p:sp>
      <p:sp>
        <p:nvSpPr>
          <p:cNvPr id="36" name="Hexagon 123">
            <a:extLst>
              <a:ext uri="{FF2B5EF4-FFF2-40B4-BE49-F238E27FC236}">
                <a16:creationId xmlns:a16="http://schemas.microsoft.com/office/drawing/2014/main" id="{ACF9115C-7293-8284-287E-50AD37B62912}"/>
              </a:ext>
            </a:extLst>
          </p:cNvPr>
          <p:cNvSpPr>
            <a:spLocks noChangeAspect="1"/>
          </p:cNvSpPr>
          <p:nvPr/>
        </p:nvSpPr>
        <p:spPr bwMode="auto">
          <a:xfrm>
            <a:off x="2140102" y="5256384"/>
            <a:ext cx="720000" cy="620689"/>
          </a:xfrm>
          <a:prstGeom prst="hexagon">
            <a:avLst/>
          </a:prstGeom>
          <a:solidFill>
            <a:srgbClr val="BECDD7">
              <a:alpha val="2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sz="1000" dirty="0">
              <a:solidFill>
                <a:srgbClr val="50BED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7" name="Hexagon 124">
            <a:extLst>
              <a:ext uri="{FF2B5EF4-FFF2-40B4-BE49-F238E27FC236}">
                <a16:creationId xmlns:a16="http://schemas.microsoft.com/office/drawing/2014/main" id="{C0CF3ED5-6347-561A-EE0A-1AD45943DF5D}"/>
              </a:ext>
            </a:extLst>
          </p:cNvPr>
          <p:cNvSpPr>
            <a:spLocks noChangeAspect="1"/>
          </p:cNvSpPr>
          <p:nvPr/>
        </p:nvSpPr>
        <p:spPr bwMode="auto">
          <a:xfrm>
            <a:off x="2748962" y="4928038"/>
            <a:ext cx="720000" cy="620689"/>
          </a:xfrm>
          <a:prstGeom prst="hexagon">
            <a:avLst/>
          </a:prstGeom>
          <a:solidFill>
            <a:srgbClr val="BECDD7">
              <a:alpha val="2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sz="1000" dirty="0">
              <a:solidFill>
                <a:srgbClr val="50BED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8" name="Hexagon 125">
            <a:extLst>
              <a:ext uri="{FF2B5EF4-FFF2-40B4-BE49-F238E27FC236}">
                <a16:creationId xmlns:a16="http://schemas.microsoft.com/office/drawing/2014/main" id="{1154858B-EEFA-0417-6B86-7053835BBA93}"/>
              </a:ext>
            </a:extLst>
          </p:cNvPr>
          <p:cNvSpPr>
            <a:spLocks noChangeAspect="1"/>
          </p:cNvSpPr>
          <p:nvPr/>
        </p:nvSpPr>
        <p:spPr bwMode="auto">
          <a:xfrm>
            <a:off x="2748962" y="5584728"/>
            <a:ext cx="720000" cy="620689"/>
          </a:xfrm>
          <a:prstGeom prst="hexagon">
            <a:avLst/>
          </a:prstGeom>
          <a:solidFill>
            <a:srgbClr val="BECDD7">
              <a:alpha val="2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sz="1000" dirty="0">
              <a:solidFill>
                <a:srgbClr val="50BED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9" name="Hexagon 126">
            <a:extLst>
              <a:ext uri="{FF2B5EF4-FFF2-40B4-BE49-F238E27FC236}">
                <a16:creationId xmlns:a16="http://schemas.microsoft.com/office/drawing/2014/main" id="{83370CC1-556A-F1D4-222A-E65B0A9373B4}"/>
              </a:ext>
            </a:extLst>
          </p:cNvPr>
          <p:cNvSpPr>
            <a:spLocks noChangeAspect="1"/>
          </p:cNvSpPr>
          <p:nvPr/>
        </p:nvSpPr>
        <p:spPr bwMode="auto">
          <a:xfrm>
            <a:off x="3362343" y="4599694"/>
            <a:ext cx="720000" cy="620689"/>
          </a:xfrm>
          <a:prstGeom prst="hexagon">
            <a:avLst/>
          </a:prstGeom>
          <a:solidFill>
            <a:srgbClr val="BECDD7">
              <a:alpha val="2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sz="1000" dirty="0">
              <a:solidFill>
                <a:srgbClr val="50BED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0" name="Hexagon 127">
            <a:extLst>
              <a:ext uri="{FF2B5EF4-FFF2-40B4-BE49-F238E27FC236}">
                <a16:creationId xmlns:a16="http://schemas.microsoft.com/office/drawing/2014/main" id="{30318F56-118D-92C9-65B6-65E18A4FF3CC}"/>
              </a:ext>
            </a:extLst>
          </p:cNvPr>
          <p:cNvSpPr>
            <a:spLocks noChangeAspect="1"/>
          </p:cNvSpPr>
          <p:nvPr/>
        </p:nvSpPr>
        <p:spPr bwMode="auto">
          <a:xfrm>
            <a:off x="3362343" y="5256384"/>
            <a:ext cx="720000" cy="620689"/>
          </a:xfrm>
          <a:prstGeom prst="hexagon">
            <a:avLst/>
          </a:prstGeom>
          <a:solidFill>
            <a:srgbClr val="BECDD7">
              <a:alpha val="2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sz="1000" dirty="0">
              <a:solidFill>
                <a:srgbClr val="50BED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1" name="Hexagon 128">
            <a:extLst>
              <a:ext uri="{FF2B5EF4-FFF2-40B4-BE49-F238E27FC236}">
                <a16:creationId xmlns:a16="http://schemas.microsoft.com/office/drawing/2014/main" id="{1F0AF13A-CF8F-4C7E-0524-E224820EACA3}"/>
              </a:ext>
            </a:extLst>
          </p:cNvPr>
          <p:cNvSpPr>
            <a:spLocks noChangeAspect="1"/>
          </p:cNvSpPr>
          <p:nvPr/>
        </p:nvSpPr>
        <p:spPr bwMode="auto">
          <a:xfrm>
            <a:off x="5206845" y="4271351"/>
            <a:ext cx="720000" cy="620689"/>
          </a:xfrm>
          <a:prstGeom prst="hexagon">
            <a:avLst/>
          </a:prstGeom>
          <a:solidFill>
            <a:srgbClr val="BECDD7">
              <a:alpha val="2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sz="1000" dirty="0">
              <a:solidFill>
                <a:srgbClr val="50BED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2" name="Hexagon 129">
            <a:extLst>
              <a:ext uri="{FF2B5EF4-FFF2-40B4-BE49-F238E27FC236}">
                <a16:creationId xmlns:a16="http://schemas.microsoft.com/office/drawing/2014/main" id="{BF9A9A7F-8966-2427-F32E-DB598CE57865}"/>
              </a:ext>
            </a:extLst>
          </p:cNvPr>
          <p:cNvSpPr>
            <a:spLocks noChangeAspect="1"/>
          </p:cNvSpPr>
          <p:nvPr/>
        </p:nvSpPr>
        <p:spPr bwMode="auto">
          <a:xfrm>
            <a:off x="5206845" y="4928041"/>
            <a:ext cx="720000" cy="620689"/>
          </a:xfrm>
          <a:prstGeom prst="hexagon">
            <a:avLst/>
          </a:prstGeom>
          <a:solidFill>
            <a:srgbClr val="BECDD7">
              <a:alpha val="2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sz="1000" dirty="0">
              <a:solidFill>
                <a:srgbClr val="50BED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3" name="Hexagon 130">
            <a:extLst>
              <a:ext uri="{FF2B5EF4-FFF2-40B4-BE49-F238E27FC236}">
                <a16:creationId xmlns:a16="http://schemas.microsoft.com/office/drawing/2014/main" id="{19876125-7D3A-776F-FB8D-FC6F0078C91F}"/>
              </a:ext>
            </a:extLst>
          </p:cNvPr>
          <p:cNvSpPr>
            <a:spLocks noChangeAspect="1"/>
          </p:cNvSpPr>
          <p:nvPr/>
        </p:nvSpPr>
        <p:spPr bwMode="auto">
          <a:xfrm>
            <a:off x="5815051" y="5248778"/>
            <a:ext cx="720000" cy="620689"/>
          </a:xfrm>
          <a:prstGeom prst="hexagon">
            <a:avLst/>
          </a:prstGeom>
          <a:solidFill>
            <a:srgbClr val="BECDD7">
              <a:alpha val="2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sz="1000" dirty="0">
              <a:solidFill>
                <a:srgbClr val="50BED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4" name="Hexagon 131">
            <a:extLst>
              <a:ext uri="{FF2B5EF4-FFF2-40B4-BE49-F238E27FC236}">
                <a16:creationId xmlns:a16="http://schemas.microsoft.com/office/drawing/2014/main" id="{3297ADFE-E65B-510D-826C-D666E6B1C849}"/>
              </a:ext>
            </a:extLst>
          </p:cNvPr>
          <p:cNvSpPr>
            <a:spLocks noChangeAspect="1"/>
          </p:cNvSpPr>
          <p:nvPr/>
        </p:nvSpPr>
        <p:spPr bwMode="auto">
          <a:xfrm>
            <a:off x="5815051" y="4594222"/>
            <a:ext cx="720000" cy="620689"/>
          </a:xfrm>
          <a:prstGeom prst="hexagon">
            <a:avLst/>
          </a:prstGeom>
          <a:solidFill>
            <a:srgbClr val="BECDD7">
              <a:alpha val="2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sz="1000" dirty="0">
              <a:solidFill>
                <a:srgbClr val="50BED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5" name="Hexagon 132">
            <a:extLst>
              <a:ext uri="{FF2B5EF4-FFF2-40B4-BE49-F238E27FC236}">
                <a16:creationId xmlns:a16="http://schemas.microsoft.com/office/drawing/2014/main" id="{4FCF6A10-2577-7F15-68BD-3A360D2ABF92}"/>
              </a:ext>
            </a:extLst>
          </p:cNvPr>
          <p:cNvSpPr>
            <a:spLocks noChangeAspect="1"/>
          </p:cNvSpPr>
          <p:nvPr/>
        </p:nvSpPr>
        <p:spPr bwMode="auto">
          <a:xfrm>
            <a:off x="5207888" y="5589850"/>
            <a:ext cx="720000" cy="620689"/>
          </a:xfrm>
          <a:prstGeom prst="hexagon">
            <a:avLst/>
          </a:prstGeom>
          <a:solidFill>
            <a:srgbClr val="BECDD7">
              <a:alpha val="2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sz="1000" dirty="0">
              <a:solidFill>
                <a:srgbClr val="50BED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6" name="Hexagon 133">
            <a:extLst>
              <a:ext uri="{FF2B5EF4-FFF2-40B4-BE49-F238E27FC236}">
                <a16:creationId xmlns:a16="http://schemas.microsoft.com/office/drawing/2014/main" id="{744EC5D0-C08A-FA4C-C4B8-57BFE9B60B5F}"/>
              </a:ext>
            </a:extLst>
          </p:cNvPr>
          <p:cNvSpPr>
            <a:spLocks noChangeAspect="1"/>
          </p:cNvSpPr>
          <p:nvPr/>
        </p:nvSpPr>
        <p:spPr bwMode="auto">
          <a:xfrm>
            <a:off x="8832699" y="4946039"/>
            <a:ext cx="720000" cy="620689"/>
          </a:xfrm>
          <a:prstGeom prst="hexagon">
            <a:avLst/>
          </a:prstGeom>
          <a:solidFill>
            <a:srgbClr val="BECDD7">
              <a:alpha val="2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sz="1000" dirty="0">
              <a:solidFill>
                <a:srgbClr val="50BED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7" name="Hexagon 134">
            <a:extLst>
              <a:ext uri="{FF2B5EF4-FFF2-40B4-BE49-F238E27FC236}">
                <a16:creationId xmlns:a16="http://schemas.microsoft.com/office/drawing/2014/main" id="{ACA5A23B-7248-86CA-6E72-792497938A3E}"/>
              </a:ext>
            </a:extLst>
          </p:cNvPr>
          <p:cNvSpPr>
            <a:spLocks noChangeAspect="1"/>
          </p:cNvSpPr>
          <p:nvPr/>
        </p:nvSpPr>
        <p:spPr bwMode="auto">
          <a:xfrm>
            <a:off x="8832699" y="4291483"/>
            <a:ext cx="720000" cy="620689"/>
          </a:xfrm>
          <a:prstGeom prst="hexagon">
            <a:avLst/>
          </a:prstGeom>
          <a:solidFill>
            <a:srgbClr val="BECDD7">
              <a:alpha val="2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sz="1000" dirty="0">
              <a:solidFill>
                <a:srgbClr val="50BED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8" name="Hexagon 135">
            <a:extLst>
              <a:ext uri="{FF2B5EF4-FFF2-40B4-BE49-F238E27FC236}">
                <a16:creationId xmlns:a16="http://schemas.microsoft.com/office/drawing/2014/main" id="{59ED3A7F-B1A8-0106-3591-6F3D1020FC81}"/>
              </a:ext>
            </a:extLst>
          </p:cNvPr>
          <p:cNvSpPr>
            <a:spLocks noChangeAspect="1"/>
          </p:cNvSpPr>
          <p:nvPr/>
        </p:nvSpPr>
        <p:spPr bwMode="auto">
          <a:xfrm>
            <a:off x="9432775" y="4618761"/>
            <a:ext cx="720000" cy="620689"/>
          </a:xfrm>
          <a:prstGeom prst="hexagon">
            <a:avLst/>
          </a:prstGeom>
          <a:solidFill>
            <a:srgbClr val="BECDD7">
              <a:alpha val="2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sz="1000" dirty="0">
              <a:solidFill>
                <a:srgbClr val="50BED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3" name="Rectangle 2">
            <a:extLst>
              <a:ext uri="{FF2B5EF4-FFF2-40B4-BE49-F238E27FC236}">
                <a16:creationId xmlns:a16="http://schemas.microsoft.com/office/drawing/2014/main" id="{220FB3ED-D310-C472-A6FB-C72307540C9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26567" y="1648644"/>
            <a:ext cx="2160000" cy="102523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72000" tIns="180000" rIns="36000" bIns="180000" anchor="t">
            <a:sp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32A0A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ata Acquisition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dentify and acquire raw data as potential evidential data.</a:t>
            </a:r>
          </a:p>
        </p:txBody>
      </p:sp>
      <p:sp>
        <p:nvSpPr>
          <p:cNvPr id="64" name="Rectangle 2">
            <a:extLst>
              <a:ext uri="{FF2B5EF4-FFF2-40B4-BE49-F238E27FC236}">
                <a16:creationId xmlns:a16="http://schemas.microsoft.com/office/drawing/2014/main" id="{3CD43815-4304-E9E6-C58A-354A17578CC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03338" y="1648644"/>
            <a:ext cx="2160000" cy="102523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72000" tIns="180000" rIns="36000" bIns="180000" anchor="t">
            <a:spAutoFit/>
          </a:bodyPr>
          <a:lstStyle/>
          <a:p>
            <a:pPr fontAlgn="t"/>
            <a:r>
              <a:rPr lang="en-US" sz="1400" dirty="0">
                <a:solidFill>
                  <a:srgbClr val="32A0A0"/>
                </a:solidFill>
              </a:rPr>
              <a:t>Data Preparation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dentify and process steps required for data preparation.</a:t>
            </a:r>
          </a:p>
        </p:txBody>
      </p:sp>
      <p:sp>
        <p:nvSpPr>
          <p:cNvPr id="65" name="Rectangle 2">
            <a:extLst>
              <a:ext uri="{FF2B5EF4-FFF2-40B4-BE49-F238E27FC236}">
                <a16:creationId xmlns:a16="http://schemas.microsoft.com/office/drawing/2014/main" id="{7251A335-45BD-8502-4453-29D67366BCE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380109" y="1648644"/>
            <a:ext cx="2160000" cy="102523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72000" tIns="180000" rIns="36000" bIns="180000" anchor="t">
            <a:sp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32A0A0"/>
                </a:solidFill>
              </a:rPr>
              <a:t>Data Analysis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Understanding attack capabilities.</a:t>
            </a:r>
          </a:p>
        </p:txBody>
      </p:sp>
      <p:sp>
        <p:nvSpPr>
          <p:cNvPr id="66" name="Rectangle 2">
            <a:extLst>
              <a:ext uri="{FF2B5EF4-FFF2-40B4-BE49-F238E27FC236}">
                <a16:creationId xmlns:a16="http://schemas.microsoft.com/office/drawing/2014/main" id="{1BCB54F0-1BF1-3B34-7721-2382D3574AF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256879" y="1648644"/>
            <a:ext cx="2087956" cy="102523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72000" tIns="180000" rIns="36000" bIns="180000" anchor="t">
            <a:spAutoFit/>
          </a:bodyPr>
          <a:lstStyle/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32A0A0"/>
                </a:solidFill>
              </a:rPr>
              <a:t>Analysis Report</a:t>
            </a:r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repare report &amp; recommend counter measures</a:t>
            </a:r>
          </a:p>
        </p:txBody>
      </p:sp>
      <p:grpSp>
        <p:nvGrpSpPr>
          <p:cNvPr id="67" name="Gruppieren 3">
            <a:extLst>
              <a:ext uri="{FF2B5EF4-FFF2-40B4-BE49-F238E27FC236}">
                <a16:creationId xmlns:a16="http://schemas.microsoft.com/office/drawing/2014/main" id="{93A00528-F450-A6E5-C4BA-3C2196AF953A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3036930" y="2017261"/>
            <a:ext cx="216045" cy="288000"/>
            <a:chOff x="225162" y="2761580"/>
            <a:chExt cx="270054" cy="360000"/>
          </a:xfrm>
          <a:solidFill>
            <a:srgbClr val="4BB9B9"/>
          </a:solidFill>
        </p:grpSpPr>
        <p:sp>
          <p:nvSpPr>
            <p:cNvPr id="68" name="Eingekerbter Richtungspfeil 2">
              <a:extLst>
                <a:ext uri="{FF2B5EF4-FFF2-40B4-BE49-F238E27FC236}">
                  <a16:creationId xmlns:a16="http://schemas.microsoft.com/office/drawing/2014/main" id="{AA699833-BB90-8B39-E3A6-56CFFC2EBEE6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225162" y="2833588"/>
              <a:ext cx="108000" cy="216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69" name="Eingekerbter Richtungspfeil 132">
              <a:extLst>
                <a:ext uri="{FF2B5EF4-FFF2-40B4-BE49-F238E27FC236}">
                  <a16:creationId xmlns:a16="http://schemas.microsoft.com/office/drawing/2014/main" id="{9C5CBC7C-C767-CD02-1B74-C18C28562412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315216" y="2761580"/>
              <a:ext cx="180000" cy="360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0" name="Gruppieren 3">
            <a:extLst>
              <a:ext uri="{FF2B5EF4-FFF2-40B4-BE49-F238E27FC236}">
                <a16:creationId xmlns:a16="http://schemas.microsoft.com/office/drawing/2014/main" id="{6653642B-1D7F-97B2-21BE-45A801BF841B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gray">
          <a:xfrm>
            <a:off x="5913701" y="2017261"/>
            <a:ext cx="216045" cy="288000"/>
            <a:chOff x="225162" y="2761580"/>
            <a:chExt cx="270054" cy="360000"/>
          </a:xfrm>
          <a:solidFill>
            <a:srgbClr val="4BB9B9"/>
          </a:solidFill>
        </p:grpSpPr>
        <p:sp>
          <p:nvSpPr>
            <p:cNvPr id="71" name="Eingekerbter Richtungspfeil 2">
              <a:extLst>
                <a:ext uri="{FF2B5EF4-FFF2-40B4-BE49-F238E27FC236}">
                  <a16:creationId xmlns:a16="http://schemas.microsoft.com/office/drawing/2014/main" id="{5B44DDFA-BBFE-090A-3498-5A4E22643E0D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225162" y="2833588"/>
              <a:ext cx="108000" cy="216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72" name="Eingekerbter Richtungspfeil 132">
              <a:extLst>
                <a:ext uri="{FF2B5EF4-FFF2-40B4-BE49-F238E27FC236}">
                  <a16:creationId xmlns:a16="http://schemas.microsoft.com/office/drawing/2014/main" id="{30349EDD-AE76-7C74-324B-5EAEF45C0596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315216" y="2761580"/>
              <a:ext cx="180000" cy="360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3" name="Gruppieren 3">
            <a:extLst>
              <a:ext uri="{FF2B5EF4-FFF2-40B4-BE49-F238E27FC236}">
                <a16:creationId xmlns:a16="http://schemas.microsoft.com/office/drawing/2014/main" id="{0BD71AA7-9FDF-18F6-39E6-345D194F426A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gray">
          <a:xfrm>
            <a:off x="8790472" y="2017261"/>
            <a:ext cx="216045" cy="288000"/>
            <a:chOff x="225162" y="2761580"/>
            <a:chExt cx="270054" cy="360000"/>
          </a:xfrm>
          <a:solidFill>
            <a:srgbClr val="4BB9B9"/>
          </a:solidFill>
        </p:grpSpPr>
        <p:sp>
          <p:nvSpPr>
            <p:cNvPr id="74" name="Eingekerbter Richtungspfeil 2">
              <a:extLst>
                <a:ext uri="{FF2B5EF4-FFF2-40B4-BE49-F238E27FC236}">
                  <a16:creationId xmlns:a16="http://schemas.microsoft.com/office/drawing/2014/main" id="{1678099C-FD35-468C-09C2-6AEA0F742BBA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225162" y="2833588"/>
              <a:ext cx="108000" cy="216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75" name="Eingekerbter Richtungspfeil 132">
              <a:extLst>
                <a:ext uri="{FF2B5EF4-FFF2-40B4-BE49-F238E27FC236}">
                  <a16:creationId xmlns:a16="http://schemas.microsoft.com/office/drawing/2014/main" id="{2FDB8AA2-23C4-F809-3F8C-EE8D0D366EE0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315216" y="2761580"/>
              <a:ext cx="180000" cy="360000"/>
            </a:xfrm>
            <a:prstGeom prst="chevron">
              <a:avLst>
                <a:gd name="adj" fmla="val 41955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6" name="Rectangle 2">
            <a:extLst>
              <a:ext uri="{FF2B5EF4-FFF2-40B4-BE49-F238E27FC236}">
                <a16:creationId xmlns:a16="http://schemas.microsoft.com/office/drawing/2014/main" id="{562E7E60-726C-40CA-FF0F-DA2EAA435A22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26567" y="1419484"/>
            <a:ext cx="3409331" cy="21544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t">
            <a:spAutoFit/>
          </a:bodyPr>
          <a:lstStyle/>
          <a:p>
            <a:pPr marL="0" lvl="2">
              <a:spcBef>
                <a:spcPts val="60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ttack Analysis &amp; Forensics </a:t>
            </a:r>
            <a:r>
              <a:rPr lang="en-US" sz="10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(simplified steps)</a:t>
            </a:r>
          </a:p>
        </p:txBody>
      </p:sp>
    </p:spTree>
    <p:extLst>
      <p:ext uri="{BB962C8B-B14F-4D97-AF65-F5344CB8AC3E}">
        <p14:creationId xmlns:p14="http://schemas.microsoft.com/office/powerpoint/2010/main" val="20336438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1271"/>
    </mc:Choice>
    <mc:Fallback>
      <p:transition spd="slow" advTm="51271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6|27.3|26.9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_LIBRARY_SELECT" val="Data Quality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LIBRARY_SELECT" val="Analysi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_LIBRARY_SELECT" val="Informati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5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8.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8.2|8.8|3.5|6.5|6.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bDy4tygk2M6zHGJSOudg"/>
</p:tagLst>
</file>

<file path=ppt/theme/theme1.xml><?xml version="1.0" encoding="utf-8"?>
<a:theme xmlns:a="http://schemas.openxmlformats.org/drawingml/2006/main" name="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-ppt-O365-16x9-standard-eng-v3-4-4.pptx" id="{546CC482-0BBB-4CFB-B701-E3D0627EFDB3}" vid="{22300633-0624-408C-B4D8-A1C9F6F4C759}"/>
    </a:ext>
  </a:extLst>
</a:theme>
</file>

<file path=ppt/theme/theme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ie-ppt-O365-16x9-standard-eng-v3-4-4</Template>
  <TotalTime>0</TotalTime>
  <Words>3080</Words>
  <Application>Microsoft Office PowerPoint</Application>
  <PresentationFormat>Breitbild</PresentationFormat>
  <Paragraphs>667</Paragraphs>
  <Slides>48</Slides>
  <Notes>0</Notes>
  <HiddenSlides>8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8</vt:i4>
      </vt:variant>
    </vt:vector>
  </HeadingPairs>
  <TitlesOfParts>
    <vt:vector size="53" baseType="lpstr">
      <vt:lpstr>Arial</vt:lpstr>
      <vt:lpstr>Arial Unicode MS</vt:lpstr>
      <vt:lpstr>Courier New</vt:lpstr>
      <vt:lpstr>Wingdings</vt:lpstr>
      <vt:lpstr>Siemens 2022</vt:lpstr>
      <vt:lpstr>SiERRA</vt:lpstr>
      <vt:lpstr>Agenda</vt:lpstr>
      <vt:lpstr>Intro  Digital Forensics at CERT</vt:lpstr>
      <vt:lpstr>About.. </vt:lpstr>
      <vt:lpstr>Understanding attack details (what, when, how, who)</vt:lpstr>
      <vt:lpstr>Yesterday</vt:lpstr>
      <vt:lpstr>Yesterday</vt:lpstr>
      <vt:lpstr>Yesterday: The problem</vt:lpstr>
      <vt:lpstr>Forensics today: The plan</vt:lpstr>
      <vt:lpstr>SiERRA  Architecture Overview</vt:lpstr>
      <vt:lpstr>Forensics automation: Building blocks</vt:lpstr>
      <vt:lpstr>Forensics automation: Building blocks</vt:lpstr>
      <vt:lpstr>SiERRA: Architecture and Nomenclature</vt:lpstr>
      <vt:lpstr>SiERRA: Tech Stack</vt:lpstr>
      <vt:lpstr>Workers  The common tool interface</vt:lpstr>
      <vt:lpstr>Common Tool Interface: The Worker abstraction</vt:lpstr>
      <vt:lpstr>Common Tool Interface: The Worker abstraction</vt:lpstr>
      <vt:lpstr>Common Tool Interface: The Worker abstraction</vt:lpstr>
      <vt:lpstr>Common Tool Interface: The Worker abstraction</vt:lpstr>
      <vt:lpstr>Workflows  Orchestrate processing</vt:lpstr>
      <vt:lpstr>Workflows</vt:lpstr>
      <vt:lpstr>Workflows</vt:lpstr>
      <vt:lpstr>Workflows</vt:lpstr>
      <vt:lpstr>Workflows</vt:lpstr>
      <vt:lpstr>Workflows</vt:lpstr>
      <vt:lpstr>Workflows</vt:lpstr>
      <vt:lpstr>User Interface  Alert, Analyze, Document</vt:lpstr>
      <vt:lpstr>User Interface: Philosophy</vt:lpstr>
      <vt:lpstr>User Interface: Impressions</vt:lpstr>
      <vt:lpstr>User Interface: Impressions</vt:lpstr>
      <vt:lpstr>User Interface: Impressions</vt:lpstr>
      <vt:lpstr>User Interface: Impressions</vt:lpstr>
      <vt:lpstr>User Interface: Impressions</vt:lpstr>
      <vt:lpstr>User Interface: Impressions</vt:lpstr>
      <vt:lpstr>User Interface: Impressions</vt:lpstr>
      <vt:lpstr>User Interface: Impressions</vt:lpstr>
      <vt:lpstr>User Interface: Impressions</vt:lpstr>
      <vt:lpstr>User Interface: Impressions</vt:lpstr>
      <vt:lpstr> Summary</vt:lpstr>
      <vt:lpstr>Summary</vt:lpstr>
      <vt:lpstr>Acknowledgements </vt:lpstr>
      <vt:lpstr>Questions?</vt:lpstr>
      <vt:lpstr>Workflows</vt:lpstr>
      <vt:lpstr>Workflows</vt:lpstr>
      <vt:lpstr>Workflows</vt:lpstr>
      <vt:lpstr>Workflows</vt:lpstr>
      <vt:lpstr>Summary</vt:lpstr>
      <vt:lpstr>Resul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, Arial Bold  and Regular, 80 pt</dc:title>
  <dc:creator>Kellermann, Demian (CYS DEF OPS-DE)</dc:creator>
  <cp:keywords>Template</cp:keywords>
  <dc:description>Version 3.4.4
April 2023</dc:description>
  <cp:lastModifiedBy>Kellermann, Demian (CYS DEF CERT DF)</cp:lastModifiedBy>
  <cp:revision>1</cp:revision>
  <dcterms:created xsi:type="dcterms:W3CDTF">2023-09-28T09:01:42Z</dcterms:created>
  <dcterms:modified xsi:type="dcterms:W3CDTF">2023-10-06T17:19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number">
    <vt:lpwstr>4.0.0</vt:lpwstr>
  </property>
  <property fmtid="{D5CDD505-2E9C-101B-9397-08002B2CF9AE}" pid="3" name="Language">
    <vt:lpwstr>English</vt:lpwstr>
  </property>
  <property fmtid="{D5CDD505-2E9C-101B-9397-08002B2CF9AE}" pid="4" name="MSIP_Label_6f75f480-7803-4ee9-bb54-84d0635fdbe7_Enabled">
    <vt:lpwstr>true</vt:lpwstr>
  </property>
  <property fmtid="{D5CDD505-2E9C-101B-9397-08002B2CF9AE}" pid="5" name="MSIP_Label_6f75f480-7803-4ee9-bb54-84d0635fdbe7_SetDate">
    <vt:lpwstr>2023-09-28T09:31:54Z</vt:lpwstr>
  </property>
  <property fmtid="{D5CDD505-2E9C-101B-9397-08002B2CF9AE}" pid="6" name="MSIP_Label_6f75f480-7803-4ee9-bb54-84d0635fdbe7_Method">
    <vt:lpwstr>Privileged</vt:lpwstr>
  </property>
  <property fmtid="{D5CDD505-2E9C-101B-9397-08002B2CF9AE}" pid="7" name="MSIP_Label_6f75f480-7803-4ee9-bb54-84d0635fdbe7_Name">
    <vt:lpwstr>unrestricted</vt:lpwstr>
  </property>
  <property fmtid="{D5CDD505-2E9C-101B-9397-08002B2CF9AE}" pid="8" name="MSIP_Label_6f75f480-7803-4ee9-bb54-84d0635fdbe7_SiteId">
    <vt:lpwstr>38ae3bcd-9579-4fd4-adda-b42e1495d55a</vt:lpwstr>
  </property>
  <property fmtid="{D5CDD505-2E9C-101B-9397-08002B2CF9AE}" pid="9" name="MSIP_Label_6f75f480-7803-4ee9-bb54-84d0635fdbe7_ActionId">
    <vt:lpwstr>0c5f0d32-36f7-4c77-a66f-4dad3c6b7d52</vt:lpwstr>
  </property>
  <property fmtid="{D5CDD505-2E9C-101B-9397-08002B2CF9AE}" pid="10" name="MSIP_Label_6f75f480-7803-4ee9-bb54-84d0635fdbe7_ContentBits">
    <vt:lpwstr>0</vt:lpwstr>
  </property>
</Properties>
</file>